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wmf" ContentType="image/x-w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6.xml" ContentType="application/vnd.openxmlformats-officedocument.theme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  <p:sldMasterId id="2147483672" r:id="rId2"/>
    <p:sldMasterId id="2147483677" r:id="rId3"/>
    <p:sldMasterId id="2147483689" r:id="rId4"/>
    <p:sldMasterId id="2147483701" r:id="rId5"/>
    <p:sldMasterId id="2147483713" r:id="rId6"/>
    <p:sldMasterId id="2147483725" r:id="rId7"/>
  </p:sldMasterIdLst>
  <p:notesMasterIdLst>
    <p:notesMasterId r:id="rId28"/>
  </p:notesMasterIdLst>
  <p:sldIdLst>
    <p:sldId id="326" r:id="rId8"/>
    <p:sldId id="327" r:id="rId9"/>
    <p:sldId id="328" r:id="rId10"/>
    <p:sldId id="329" r:id="rId11"/>
    <p:sldId id="330" r:id="rId12"/>
    <p:sldId id="336" r:id="rId13"/>
    <p:sldId id="337" r:id="rId14"/>
    <p:sldId id="312" r:id="rId15"/>
    <p:sldId id="338" r:id="rId16"/>
    <p:sldId id="280" r:id="rId17"/>
    <p:sldId id="284" r:id="rId18"/>
    <p:sldId id="332" r:id="rId19"/>
    <p:sldId id="322" r:id="rId20"/>
    <p:sldId id="340" r:id="rId21"/>
    <p:sldId id="341" r:id="rId22"/>
    <p:sldId id="342" r:id="rId23"/>
    <p:sldId id="283" r:id="rId24"/>
    <p:sldId id="279" r:id="rId25"/>
    <p:sldId id="331" r:id="rId26"/>
    <p:sldId id="325" r:id="rId27"/>
  </p:sldIdLst>
  <p:sldSz cx="9144000" cy="6858000" type="screen4x3"/>
  <p:notesSz cx="6797675" cy="9926638"/>
  <p:defaultTextStyle>
    <a:defPPr>
      <a:defRPr lang="en-US"/>
    </a:defPPr>
    <a:lvl1pPr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8582"/>
    <a:srgbClr val="76B531"/>
    <a:srgbClr val="EAB200"/>
    <a:srgbClr val="E85652"/>
    <a:srgbClr val="E22E2A"/>
    <a:srgbClr val="FF9900"/>
    <a:srgbClr val="FFE07D"/>
    <a:srgbClr val="EDC945"/>
    <a:srgbClr val="FFDB69"/>
    <a:srgbClr val="EECD5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 horzBarState="maximized">
    <p:restoredLeft sz="12536" autoAdjust="0"/>
    <p:restoredTop sz="95596" autoAdjust="0"/>
  </p:normalViewPr>
  <p:slideViewPr>
    <p:cSldViewPr>
      <p:cViewPr>
        <p:scale>
          <a:sx n="100" d="100"/>
          <a:sy n="100" d="100"/>
        </p:scale>
        <p:origin x="-24" y="-246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4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rAngAx val="0"/>
      <c:perspective val="3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dLbls>
          <c:showLegendKey val="0"/>
          <c:showVal val="1"/>
          <c:showCatName val="1"/>
          <c:showSerName val="0"/>
          <c:showPercent val="0"/>
          <c:showBubbleSize val="0"/>
          <c:showLeaderLines val="1"/>
        </c:dLbls>
      </c:pie3DChart>
    </c:plotArea>
    <c:plotVisOnly val="1"/>
    <c:dispBlanksAs val="zero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713" b="1" i="0" u="none" strike="noStrike" baseline="0">
                <a:solidFill>
                  <a:srgbClr val="000000"/>
                </a:solidFill>
                <a:latin typeface="Garamond"/>
                <a:ea typeface="Garamond"/>
                <a:cs typeface="Garamond"/>
              </a:defRPr>
            </a:pPr>
            <a:r>
              <a:rPr lang="ru-RU" sz="1244" dirty="0"/>
              <a:t>Доля </a:t>
            </a:r>
            <a:r>
              <a:rPr lang="ru-RU" sz="1244" dirty="0" smtClean="0"/>
              <a:t>издержек</a:t>
            </a:r>
            <a:endParaRPr lang="en-US" sz="1800" dirty="0"/>
          </a:p>
          <a:p>
            <a:pPr>
              <a:defRPr sz="713" b="1" i="0" u="none" strike="noStrike" baseline="0">
                <a:solidFill>
                  <a:srgbClr val="000000"/>
                </a:solidFill>
                <a:latin typeface="Garamond"/>
                <a:ea typeface="Garamond"/>
                <a:cs typeface="Garamond"/>
              </a:defRPr>
            </a:pPr>
            <a:r>
              <a:rPr lang="ru-RU" sz="1244" dirty="0"/>
              <a:t> на</a:t>
            </a:r>
            <a:r>
              <a:rPr lang="ru-RU" sz="1244" baseline="0" dirty="0"/>
              <a:t> преодоление</a:t>
            </a:r>
            <a:endParaRPr lang="en-US" sz="1800" baseline="0" dirty="0"/>
          </a:p>
          <a:p>
            <a:pPr>
              <a:defRPr sz="713" b="1" i="0" u="none" strike="noStrike" baseline="0">
                <a:solidFill>
                  <a:srgbClr val="000000"/>
                </a:solidFill>
                <a:latin typeface="Garamond"/>
                <a:ea typeface="Garamond"/>
                <a:cs typeface="Garamond"/>
              </a:defRPr>
            </a:pPr>
            <a:r>
              <a:rPr lang="ru-RU" sz="1244" baseline="0" dirty="0"/>
              <a:t> барьеров</a:t>
            </a:r>
            <a:endParaRPr lang="ru-RU" sz="1800" dirty="0"/>
          </a:p>
        </c:rich>
      </c:tx>
      <c:layout>
        <c:manualLayout>
          <c:xMode val="edge"/>
          <c:yMode val="edge"/>
          <c:x val="7.8556162247784573E-3"/>
          <c:y val="0.7589897713238226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2.5712433047310725E-2"/>
          <c:y val="7.0352731864143495E-2"/>
          <c:w val="0.92595548493360469"/>
          <c:h val="0.63707751870224583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3</c:v>
                </c:pt>
              </c:strCache>
            </c:strRef>
          </c:tx>
          <c:invertIfNegative val="0"/>
          <c:dPt>
            <c:idx val="0"/>
            <c:invertIfNegative val="0"/>
            <c:bubble3D val="0"/>
          </c:dPt>
          <c:dPt>
            <c:idx val="1"/>
            <c:invertIfNegative val="0"/>
            <c:bubble3D val="0"/>
          </c:dPt>
          <c:dPt>
            <c:idx val="2"/>
            <c:invertIfNegative val="0"/>
            <c:bubble3D val="0"/>
          </c:dPt>
          <c:dPt>
            <c:idx val="3"/>
            <c:invertIfNegative val="0"/>
            <c:bubble3D val="0"/>
          </c:dPt>
          <c:dPt>
            <c:idx val="4"/>
            <c:invertIfNegative val="0"/>
            <c:bubble3D val="0"/>
          </c:dPt>
          <c:dPt>
            <c:idx val="5"/>
            <c:invertIfNegative val="0"/>
            <c:bubble3D val="0"/>
          </c:dPt>
          <c:dPt>
            <c:idx val="6"/>
            <c:invertIfNegative val="0"/>
            <c:bubble3D val="0"/>
          </c:dPt>
          <c:dPt>
            <c:idx val="7"/>
            <c:invertIfNegative val="0"/>
            <c:bubble3D val="0"/>
          </c:dPt>
          <c:dPt>
            <c:idx val="8"/>
            <c:invertIfNegative val="0"/>
            <c:bubble3D val="0"/>
          </c:dPt>
          <c:dPt>
            <c:idx val="9"/>
            <c:invertIfNegative val="0"/>
            <c:bubble3D val="0"/>
          </c:dPt>
          <c:dLbls>
            <c:txPr>
              <a:bodyPr/>
              <a:lstStyle/>
              <a:p>
                <a:pPr>
                  <a:defRPr sz="1244" b="0" i="0" u="none" strike="noStrike" baseline="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Лист1!$A$2:$A$6</c:f>
              <c:strCache>
                <c:ptCount val="5"/>
                <c:pt idx="0">
                  <c:v>0-1 %</c:v>
                </c:pt>
                <c:pt idx="1">
                  <c:v>1-5 %</c:v>
                </c:pt>
                <c:pt idx="2">
                  <c:v>5-10 %</c:v>
                </c:pt>
                <c:pt idx="3">
                  <c:v>10-25 %</c:v>
                </c:pt>
                <c:pt idx="4">
                  <c:v>Более 25 %</c:v>
                </c:pt>
              </c:strCache>
            </c:strRef>
          </c:cat>
          <c:val>
            <c:numRef>
              <c:f>Лист1!$B$2:$B$6</c:f>
              <c:numCache>
                <c:formatCode>0.0%</c:formatCode>
                <c:ptCount val="5"/>
                <c:pt idx="0">
                  <c:v>0.47003154574132494</c:v>
                </c:pt>
                <c:pt idx="1">
                  <c:v>0.24290220820189273</c:v>
                </c:pt>
                <c:pt idx="2">
                  <c:v>0.1892744479495268</c:v>
                </c:pt>
                <c:pt idx="3">
                  <c:v>5.0473186119873815E-2</c:v>
                </c:pt>
                <c:pt idx="4">
                  <c:v>4.7318611987381701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172321280"/>
        <c:axId val="33698880"/>
      </c:barChart>
      <c:catAx>
        <c:axId val="17232128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933" baseline="0"/>
            </a:pPr>
            <a:endParaRPr lang="ru-RU"/>
          </a:p>
        </c:txPr>
        <c:crossAx val="33698880"/>
        <c:crosses val="autoZero"/>
        <c:auto val="1"/>
        <c:lblAlgn val="ctr"/>
        <c:lblOffset val="100"/>
        <c:noMultiLvlLbl val="0"/>
      </c:catAx>
      <c:valAx>
        <c:axId val="33698880"/>
        <c:scaling>
          <c:orientation val="minMax"/>
        </c:scaling>
        <c:delete val="1"/>
        <c:axPos val="l"/>
        <c:majorGridlines/>
        <c:numFmt formatCode="0.0%" sourceLinked="1"/>
        <c:majorTickMark val="out"/>
        <c:minorTickMark val="none"/>
        <c:tickLblPos val="nextTo"/>
        <c:crossAx val="172321280"/>
        <c:crosses val="autoZero"/>
        <c:crossBetween val="between"/>
      </c:valAx>
      <c:spPr>
        <a:noFill/>
        <a:ln w="17555">
          <a:noFill/>
        </a:ln>
      </c:spPr>
    </c:plotArea>
    <c:plotVisOnly val="1"/>
    <c:dispBlanksAs val="zero"/>
    <c:showDLblsOverMax val="0"/>
  </c:chart>
  <c:txPr>
    <a:bodyPr/>
    <a:lstStyle/>
    <a:p>
      <a:pPr>
        <a:defRPr sz="1244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2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#1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93E52AC6-79EC-452C-B373-6192F184033B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A844950-42BD-4DD0-8DA3-CE0F99670576}">
      <dgm:prSet/>
      <dgm:spPr/>
      <dgm:t>
        <a:bodyPr/>
        <a:lstStyle/>
        <a:p>
          <a:pPr rtl="0"/>
          <a:r>
            <a:rPr lang="ru-RU" dirty="0" smtClean="0"/>
            <a:t>Базовый федеральный закон - № 209-ФЗ «О развитии малого и среднего предпринимательства в РФ»</a:t>
          </a:r>
          <a:endParaRPr lang="ru-RU" dirty="0"/>
        </a:p>
      </dgm:t>
    </dgm:pt>
    <dgm:pt modelId="{BE974AE3-C732-4982-A35E-9EE15D249C63}" type="parTrans" cxnId="{2DAA6938-CAFC-49C8-A813-B955B48514B2}">
      <dgm:prSet/>
      <dgm:spPr/>
      <dgm:t>
        <a:bodyPr/>
        <a:lstStyle/>
        <a:p>
          <a:endParaRPr lang="ru-RU"/>
        </a:p>
      </dgm:t>
    </dgm:pt>
    <dgm:pt modelId="{8442A4D6-A327-4055-87A7-01B5AEAB31F6}" type="sibTrans" cxnId="{2DAA6938-CAFC-49C8-A813-B955B48514B2}">
      <dgm:prSet/>
      <dgm:spPr/>
      <dgm:t>
        <a:bodyPr/>
        <a:lstStyle/>
        <a:p>
          <a:endParaRPr lang="ru-RU"/>
        </a:p>
      </dgm:t>
    </dgm:pt>
    <dgm:pt modelId="{B42D0272-56D5-42CE-8D1C-686AB60F242B}" type="pres">
      <dgm:prSet presAssocID="{93E52AC6-79EC-452C-B373-6192F184033B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173AF47-8475-47C0-AD97-B2FEB1784EE5}" type="pres">
      <dgm:prSet presAssocID="{BA844950-42BD-4DD0-8DA3-CE0F99670576}" presName="parentText" presStyleLbl="node1" presStyleIdx="0" presStyleCnt="1" custScaleX="96676" custScaleY="45527" custLinFactNeighborX="-1135" custLinFactNeighborY="-83518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DAA6938-CAFC-49C8-A813-B955B48514B2}" srcId="{93E52AC6-79EC-452C-B373-6192F184033B}" destId="{BA844950-42BD-4DD0-8DA3-CE0F99670576}" srcOrd="0" destOrd="0" parTransId="{BE974AE3-C732-4982-A35E-9EE15D249C63}" sibTransId="{8442A4D6-A327-4055-87A7-01B5AEAB31F6}"/>
    <dgm:cxn modelId="{D9481009-5A90-4B48-AA5E-A3F16E77968E}" type="presOf" srcId="{93E52AC6-79EC-452C-B373-6192F184033B}" destId="{B42D0272-56D5-42CE-8D1C-686AB60F242B}" srcOrd="0" destOrd="0" presId="urn:microsoft.com/office/officeart/2005/8/layout/vList2"/>
    <dgm:cxn modelId="{54BFA4C0-6389-4807-BDF9-AF5DF9E9FF1B}" type="presOf" srcId="{BA844950-42BD-4DD0-8DA3-CE0F99670576}" destId="{7173AF47-8475-47C0-AD97-B2FEB1784EE5}" srcOrd="0" destOrd="0" presId="urn:microsoft.com/office/officeart/2005/8/layout/vList2"/>
    <dgm:cxn modelId="{CD1C045E-F8F7-4979-810A-E706FB73F2B2}" type="presParOf" srcId="{B42D0272-56D5-42CE-8D1C-686AB60F242B}" destId="{7173AF47-8475-47C0-AD97-B2FEB1784EE5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DD2DED2-39D3-4912-8DFD-27CC85C5BCD8}" type="doc">
      <dgm:prSet loTypeId="urn:microsoft.com/office/officeart/2005/8/layout/arrow2" loCatId="process" qsTypeId="urn:microsoft.com/office/officeart/2005/8/quickstyle/simple1#1" qsCatId="simple" csTypeId="urn:microsoft.com/office/officeart/2005/8/colors/accent1_2#1" csCatId="accent1" phldr="1"/>
      <dgm:spPr/>
    </dgm:pt>
    <dgm:pt modelId="{2A3A8E7C-AAEC-4AC5-9B93-D7148A52309E}">
      <dgm:prSet phldrT="[Текст]"/>
      <dgm:spPr>
        <a:xfrm>
          <a:off x="211634" y="2236821"/>
          <a:ext cx="814203" cy="631182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икро</a:t>
          </a:r>
        </a:p>
      </dgm:t>
    </dgm:pt>
    <dgm:pt modelId="{CE95903F-05B4-42BB-9244-6360CE76A085}" type="parTrans" cxnId="{56E29A47-6E1C-454A-857E-613DC5FBA044}">
      <dgm:prSet/>
      <dgm:spPr/>
      <dgm:t>
        <a:bodyPr/>
        <a:lstStyle/>
        <a:p>
          <a:endParaRPr lang="ru-RU"/>
        </a:p>
      </dgm:t>
    </dgm:pt>
    <dgm:pt modelId="{8CFE2E85-355F-4E31-885B-A7D969E98B11}" type="sibTrans" cxnId="{56E29A47-6E1C-454A-857E-613DC5FBA044}">
      <dgm:prSet/>
      <dgm:spPr/>
      <dgm:t>
        <a:bodyPr/>
        <a:lstStyle/>
        <a:p>
          <a:endParaRPr lang="ru-RU"/>
        </a:p>
      </dgm:t>
    </dgm:pt>
    <dgm:pt modelId="{198AE70E-0766-4F1D-BB99-8929AB1B4103}">
      <dgm:prSet phldrT="[Текст]"/>
      <dgm:spPr>
        <a:xfrm>
          <a:off x="941370" y="1585299"/>
          <a:ext cx="838664" cy="1188108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алые</a:t>
          </a:r>
          <a:endParaRPr lang="ru-RU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9CDEF653-7CDD-4EA4-9407-9C472370D32E}" type="parTrans" cxnId="{F2C86FDF-9A35-45EE-83C6-33F35F4FD753}">
      <dgm:prSet/>
      <dgm:spPr/>
      <dgm:t>
        <a:bodyPr/>
        <a:lstStyle/>
        <a:p>
          <a:endParaRPr lang="ru-RU"/>
        </a:p>
      </dgm:t>
    </dgm:pt>
    <dgm:pt modelId="{7F981085-DCDD-4469-BEE8-9A6279C2F04B}" type="sibTrans" cxnId="{F2C86FDF-9A35-45EE-83C6-33F35F4FD753}">
      <dgm:prSet/>
      <dgm:spPr/>
      <dgm:t>
        <a:bodyPr/>
        <a:lstStyle/>
        <a:p>
          <a:endParaRPr lang="ru-RU"/>
        </a:p>
      </dgm:t>
    </dgm:pt>
    <dgm:pt modelId="{3EA3505D-06D3-466C-B76E-30C04674AE7D}">
      <dgm:prSet phldrT="[Текст]"/>
      <dgm:spPr>
        <a:xfrm>
          <a:off x="1897548" y="873860"/>
          <a:ext cx="838664" cy="1517895"/>
        </a:xfrm>
        <a:prstGeom prst="rect">
          <a:avLst/>
        </a:prstGeom>
        <a:noFill/>
        <a:ln>
          <a:noFill/>
        </a:ln>
        <a:effectLst/>
      </dgm:spPr>
      <dgm:t>
        <a:bodyPr/>
        <a:lstStyle/>
        <a:p>
          <a:r>
            <a:rPr lang="ru-RU" b="1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редние</a:t>
          </a:r>
          <a:endParaRPr lang="ru-RU" b="1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6F372AE-160D-4C0A-ABE4-B0CEA4723CE0}" type="parTrans" cxnId="{44455591-42BC-4901-A75A-915957FB4248}">
      <dgm:prSet/>
      <dgm:spPr/>
      <dgm:t>
        <a:bodyPr/>
        <a:lstStyle/>
        <a:p>
          <a:endParaRPr lang="ru-RU"/>
        </a:p>
      </dgm:t>
    </dgm:pt>
    <dgm:pt modelId="{F5C99F2B-17CF-4845-BAD8-B9DA109D187D}" type="sibTrans" cxnId="{44455591-42BC-4901-A75A-915957FB4248}">
      <dgm:prSet/>
      <dgm:spPr/>
      <dgm:t>
        <a:bodyPr/>
        <a:lstStyle/>
        <a:p>
          <a:endParaRPr lang="ru-RU"/>
        </a:p>
      </dgm:t>
    </dgm:pt>
    <dgm:pt modelId="{CCE98AE6-36C1-4ABC-82B8-892754CE5179}" type="pres">
      <dgm:prSet presAssocID="{CDD2DED2-39D3-4912-8DFD-27CC85C5BCD8}" presName="arrowDiagram" presStyleCnt="0">
        <dgm:presLayoutVars>
          <dgm:chMax val="5"/>
          <dgm:dir/>
          <dgm:resizeHandles val="exact"/>
        </dgm:presLayoutVars>
      </dgm:prSet>
      <dgm:spPr/>
    </dgm:pt>
    <dgm:pt modelId="{BC5234D8-6FEA-4142-8B2A-531A709916A2}" type="pres">
      <dgm:prSet presAssocID="{CDD2DED2-39D3-4912-8DFD-27CC85C5BCD8}" presName="arrow" presStyleLbl="bgShp" presStyleIdx="0" presStyleCnt="1" custScaleY="137379"/>
      <dgm:spPr>
        <a:xfrm>
          <a:off x="0" y="3"/>
          <a:ext cx="3494436" cy="3000388"/>
        </a:xfrm>
        <a:prstGeom prst="swooshArrow">
          <a:avLst>
            <a:gd name="adj1" fmla="val 25000"/>
            <a:gd name="adj2" fmla="val 25000"/>
          </a:avLst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B7001F4A-63F1-467B-A604-8A2E89239E29}" type="pres">
      <dgm:prSet presAssocID="{CDD2DED2-39D3-4912-8DFD-27CC85C5BCD8}" presName="arrowDiagram3" presStyleCnt="0"/>
      <dgm:spPr/>
    </dgm:pt>
    <dgm:pt modelId="{49524811-9E0B-4D07-98F8-4C014E5DDA7F}" type="pres">
      <dgm:prSet presAssocID="{2A3A8E7C-AAEC-4AC5-9B93-D7148A52309E}" presName="bullet3a" presStyleLbl="node1" presStyleIdx="0" presStyleCnt="3" custLinFactY="98882" custLinFactNeighborX="-34116" custLinFactNeighborY="100000"/>
      <dgm:spPr>
        <a:xfrm>
          <a:off x="412797" y="2096293"/>
          <a:ext cx="90855" cy="90855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A9AD3935-C9BE-4769-91E3-EC58B6F1750C}" type="pres">
      <dgm:prSet presAssocID="{2A3A8E7C-AAEC-4AC5-9B93-D7148A52309E}" presName="textBox3a" presStyleLbl="revTx" presStyleIdx="0" presStyleCnt="3" custLinFactNeighborX="-34093" custLinFactNeighborY="4369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A60BD1F-CD15-42D9-837F-C4E31B1C6F3C}" type="pres">
      <dgm:prSet presAssocID="{198AE70E-0766-4F1D-BB99-8929AB1B4103}" presName="bullet3b" presStyleLbl="node1" presStyleIdx="1" presStyleCnt="3" custLinFactNeighborX="-64678" custLinFactNeighborY="26427"/>
      <dgm:spPr>
        <a:xfrm>
          <a:off x="1139540" y="1365385"/>
          <a:ext cx="164238" cy="1642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0BA88991-AF70-477D-AC2A-088F57E86720}" type="pres">
      <dgm:prSet presAssocID="{198AE70E-0766-4F1D-BB99-8929AB1B4103}" presName="textBox3b" presStyleLbl="revTx" presStyleIdx="1" presStyleCnt="3" custAng="0" custLinFactNeighborX="-46087" custLinFactNeighborY="1525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3EC8A4B-A3B1-4EA8-9537-025C42425E57}" type="pres">
      <dgm:prSet presAssocID="{3EA3505D-06D3-466C-B76E-30C04674AE7D}" presName="bullet3c" presStyleLbl="node1" presStyleIdx="2" presStyleCnt="3" custLinFactY="-56838" custLinFactNeighborX="82467" custLinFactNeighborY="-100000"/>
      <dgm:spPr>
        <a:xfrm>
          <a:off x="2397544" y="604505"/>
          <a:ext cx="227138" cy="2271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gm:spPr>
    </dgm:pt>
    <dgm:pt modelId="{2D30517B-73BC-4E31-828C-977937893531}" type="pres">
      <dgm:prSet presAssocID="{3EA3505D-06D3-466C-B76E-30C04674AE7D}" presName="textBox3c" presStyleLbl="revTx" presStyleIdx="2" presStyleCnt="3" custLinFactNeighborX="-50825" custLinFactNeighborY="-1320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4E4E8E6-C012-4DE9-B346-412CD0F82169}" type="presOf" srcId="{2A3A8E7C-AAEC-4AC5-9B93-D7148A52309E}" destId="{A9AD3935-C9BE-4769-91E3-EC58B6F1750C}" srcOrd="0" destOrd="0" presId="urn:microsoft.com/office/officeart/2005/8/layout/arrow2"/>
    <dgm:cxn modelId="{27CDF77B-0ED9-42E8-B1DC-D577AC65BAA2}" type="presOf" srcId="{198AE70E-0766-4F1D-BB99-8929AB1B4103}" destId="{0BA88991-AF70-477D-AC2A-088F57E86720}" srcOrd="0" destOrd="0" presId="urn:microsoft.com/office/officeart/2005/8/layout/arrow2"/>
    <dgm:cxn modelId="{44455591-42BC-4901-A75A-915957FB4248}" srcId="{CDD2DED2-39D3-4912-8DFD-27CC85C5BCD8}" destId="{3EA3505D-06D3-466C-B76E-30C04674AE7D}" srcOrd="2" destOrd="0" parTransId="{06F372AE-160D-4C0A-ABE4-B0CEA4723CE0}" sibTransId="{F5C99F2B-17CF-4845-BAD8-B9DA109D187D}"/>
    <dgm:cxn modelId="{460DFBD2-8C88-4EB1-A5DD-4D91B3F24870}" type="presOf" srcId="{CDD2DED2-39D3-4912-8DFD-27CC85C5BCD8}" destId="{CCE98AE6-36C1-4ABC-82B8-892754CE5179}" srcOrd="0" destOrd="0" presId="urn:microsoft.com/office/officeart/2005/8/layout/arrow2"/>
    <dgm:cxn modelId="{56E29A47-6E1C-454A-857E-613DC5FBA044}" srcId="{CDD2DED2-39D3-4912-8DFD-27CC85C5BCD8}" destId="{2A3A8E7C-AAEC-4AC5-9B93-D7148A52309E}" srcOrd="0" destOrd="0" parTransId="{CE95903F-05B4-42BB-9244-6360CE76A085}" sibTransId="{8CFE2E85-355F-4E31-885B-A7D969E98B11}"/>
    <dgm:cxn modelId="{F2C86FDF-9A35-45EE-83C6-33F35F4FD753}" srcId="{CDD2DED2-39D3-4912-8DFD-27CC85C5BCD8}" destId="{198AE70E-0766-4F1D-BB99-8929AB1B4103}" srcOrd="1" destOrd="0" parTransId="{9CDEF653-7CDD-4EA4-9407-9C472370D32E}" sibTransId="{7F981085-DCDD-4469-BEE8-9A6279C2F04B}"/>
    <dgm:cxn modelId="{7CDE7546-D874-4846-AD55-82F29AA071FF}" type="presOf" srcId="{3EA3505D-06D3-466C-B76E-30C04674AE7D}" destId="{2D30517B-73BC-4E31-828C-977937893531}" srcOrd="0" destOrd="0" presId="urn:microsoft.com/office/officeart/2005/8/layout/arrow2"/>
    <dgm:cxn modelId="{2F9D6FC0-4009-48F7-8027-8ADE9734C244}" type="presParOf" srcId="{CCE98AE6-36C1-4ABC-82B8-892754CE5179}" destId="{BC5234D8-6FEA-4142-8B2A-531A709916A2}" srcOrd="0" destOrd="0" presId="urn:microsoft.com/office/officeart/2005/8/layout/arrow2"/>
    <dgm:cxn modelId="{DDCCEF25-6B64-4B44-9482-9686180958B4}" type="presParOf" srcId="{CCE98AE6-36C1-4ABC-82B8-892754CE5179}" destId="{B7001F4A-63F1-467B-A604-8A2E89239E29}" srcOrd="1" destOrd="0" presId="urn:microsoft.com/office/officeart/2005/8/layout/arrow2"/>
    <dgm:cxn modelId="{435A5873-C918-4F51-A8E7-863A1AB6318B}" type="presParOf" srcId="{B7001F4A-63F1-467B-A604-8A2E89239E29}" destId="{49524811-9E0B-4D07-98F8-4C014E5DDA7F}" srcOrd="0" destOrd="0" presId="urn:microsoft.com/office/officeart/2005/8/layout/arrow2"/>
    <dgm:cxn modelId="{66E31C10-9795-457E-862B-798B3055293F}" type="presParOf" srcId="{B7001F4A-63F1-467B-A604-8A2E89239E29}" destId="{A9AD3935-C9BE-4769-91E3-EC58B6F1750C}" srcOrd="1" destOrd="0" presId="urn:microsoft.com/office/officeart/2005/8/layout/arrow2"/>
    <dgm:cxn modelId="{1554B50A-0322-4DA6-8A82-1DBC91E98F4A}" type="presParOf" srcId="{B7001F4A-63F1-467B-A604-8A2E89239E29}" destId="{0A60BD1F-CD15-42D9-837F-C4E31B1C6F3C}" srcOrd="2" destOrd="0" presId="urn:microsoft.com/office/officeart/2005/8/layout/arrow2"/>
    <dgm:cxn modelId="{309FD691-44C7-4A6C-BE95-9A6DCF348079}" type="presParOf" srcId="{B7001F4A-63F1-467B-A604-8A2E89239E29}" destId="{0BA88991-AF70-477D-AC2A-088F57E86720}" srcOrd="3" destOrd="0" presId="urn:microsoft.com/office/officeart/2005/8/layout/arrow2"/>
    <dgm:cxn modelId="{8B626BDD-5F35-4BE5-AB54-31ACD3168899}" type="presParOf" srcId="{B7001F4A-63F1-467B-A604-8A2E89239E29}" destId="{33EC8A4B-A3B1-4EA8-9537-025C42425E57}" srcOrd="4" destOrd="0" presId="urn:microsoft.com/office/officeart/2005/8/layout/arrow2"/>
    <dgm:cxn modelId="{D6EDE26E-9F17-4A53-93F0-8E75A2604358}" type="presParOf" srcId="{B7001F4A-63F1-467B-A604-8A2E89239E29}" destId="{2D30517B-73BC-4E31-828C-977937893531}" srcOrd="5" destOrd="0" presId="urn:microsoft.com/office/officeart/2005/8/layout/arrow2"/>
  </dgm:cxnLst>
  <dgm:bg/>
  <dgm:whole/>
  <dgm:extLst>
    <a:ext uri="http://schemas.microsoft.com/office/drawing/2008/diagram">
      <dsp:dataModelExt xmlns:dsp="http://schemas.microsoft.com/office/drawing/2008/diagram" relId="rId15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1057749-BA4B-489F-9DAB-A72BD753A17B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4FD94E2D-5837-42AD-9BE3-2458C44488A6}">
      <dgm:prSet/>
      <dgm:spPr/>
      <dgm:t>
        <a:bodyPr/>
        <a:lstStyle/>
        <a:p>
          <a:pPr rtl="0"/>
          <a:r>
            <a:rPr lang="ru-RU" dirty="0" smtClean="0"/>
            <a:t>Единый налог на вмененный доход (ЕНВД)  </a:t>
          </a:r>
          <a:endParaRPr lang="ru-RU" dirty="0"/>
        </a:p>
      </dgm:t>
    </dgm:pt>
    <dgm:pt modelId="{9A7EC745-DA9A-45F8-A932-93F1BF6C04CE}" type="parTrans" cxnId="{936B1877-3620-46B9-BF1B-A6B4B841D009}">
      <dgm:prSet/>
      <dgm:spPr/>
      <dgm:t>
        <a:bodyPr/>
        <a:lstStyle/>
        <a:p>
          <a:endParaRPr lang="ru-RU"/>
        </a:p>
      </dgm:t>
    </dgm:pt>
    <dgm:pt modelId="{F06DFAD4-CF81-4F5B-AA27-1E07BFFE072C}" type="sibTrans" cxnId="{936B1877-3620-46B9-BF1B-A6B4B841D009}">
      <dgm:prSet/>
      <dgm:spPr/>
      <dgm:t>
        <a:bodyPr/>
        <a:lstStyle/>
        <a:p>
          <a:endParaRPr lang="ru-RU"/>
        </a:p>
      </dgm:t>
    </dgm:pt>
    <dgm:pt modelId="{655B8C38-897E-4A4F-85D1-1AA39E291B96}">
      <dgm:prSet/>
      <dgm:spPr/>
      <dgm:t>
        <a:bodyPr/>
        <a:lstStyle/>
        <a:p>
          <a:pPr rtl="0"/>
          <a:r>
            <a:rPr lang="ru-RU" dirty="0" smtClean="0"/>
            <a:t>Упрощенная система налогообложения («доходы») – 6%  </a:t>
          </a:r>
          <a:endParaRPr lang="ru-RU" dirty="0"/>
        </a:p>
      </dgm:t>
    </dgm:pt>
    <dgm:pt modelId="{67471B6B-EEF7-4CE7-847B-B8B5E2D27C7F}" type="parTrans" cxnId="{5FB3B1D7-D40F-49D2-90E7-88FF2D8C7924}">
      <dgm:prSet/>
      <dgm:spPr/>
      <dgm:t>
        <a:bodyPr/>
        <a:lstStyle/>
        <a:p>
          <a:endParaRPr lang="ru-RU"/>
        </a:p>
      </dgm:t>
    </dgm:pt>
    <dgm:pt modelId="{9F77893B-4B15-41A7-93E7-264FDA181B23}" type="sibTrans" cxnId="{5FB3B1D7-D40F-49D2-90E7-88FF2D8C7924}">
      <dgm:prSet/>
      <dgm:spPr/>
      <dgm:t>
        <a:bodyPr/>
        <a:lstStyle/>
        <a:p>
          <a:endParaRPr lang="ru-RU"/>
        </a:p>
      </dgm:t>
    </dgm:pt>
    <dgm:pt modelId="{E2D2BD72-F0B9-4DA4-8C98-07DB10FDC71B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34,5%</a:t>
          </a:r>
          <a:endParaRPr lang="ru-RU" dirty="0">
            <a:solidFill>
              <a:schemeClr val="bg1"/>
            </a:solidFill>
          </a:endParaRPr>
        </a:p>
      </dgm:t>
    </dgm:pt>
    <dgm:pt modelId="{FBEC1404-8094-490F-990C-915754B66F91}" type="parTrans" cxnId="{ECE9A605-94F9-44B0-ADC2-BC8DED6BE67D}">
      <dgm:prSet/>
      <dgm:spPr/>
      <dgm:t>
        <a:bodyPr/>
        <a:lstStyle/>
        <a:p>
          <a:endParaRPr lang="ru-RU"/>
        </a:p>
      </dgm:t>
    </dgm:pt>
    <dgm:pt modelId="{F032228C-74B0-4068-8B8D-004EC227E16A}" type="sibTrans" cxnId="{ECE9A605-94F9-44B0-ADC2-BC8DED6BE67D}">
      <dgm:prSet/>
      <dgm:spPr/>
      <dgm:t>
        <a:bodyPr/>
        <a:lstStyle/>
        <a:p>
          <a:endParaRPr lang="ru-RU"/>
        </a:p>
      </dgm:t>
    </dgm:pt>
    <dgm:pt modelId="{B5F50FD0-AC7A-4035-9593-984A9D8033AB}">
      <dgm:prSet/>
      <dgm:spPr/>
      <dgm:t>
        <a:bodyPr/>
        <a:lstStyle/>
        <a:p>
          <a:pPr rtl="0"/>
          <a:r>
            <a:rPr lang="ru-RU" dirty="0" smtClean="0"/>
            <a:t>Упрощенная система налогообложения («доходы минус расходы») – 15%  </a:t>
          </a:r>
          <a:endParaRPr lang="ru-RU" dirty="0"/>
        </a:p>
      </dgm:t>
    </dgm:pt>
    <dgm:pt modelId="{1DC5E318-28DF-4CBE-9245-62B489E479B4}" type="parTrans" cxnId="{4B639E78-39A6-48CB-BAAB-7E3AF13C5338}">
      <dgm:prSet/>
      <dgm:spPr/>
      <dgm:t>
        <a:bodyPr/>
        <a:lstStyle/>
        <a:p>
          <a:endParaRPr lang="ru-RU"/>
        </a:p>
      </dgm:t>
    </dgm:pt>
    <dgm:pt modelId="{35F8BBA3-3888-413A-8038-F333444CF770}" type="sibTrans" cxnId="{4B639E78-39A6-48CB-BAAB-7E3AF13C5338}">
      <dgm:prSet/>
      <dgm:spPr/>
      <dgm:t>
        <a:bodyPr/>
        <a:lstStyle/>
        <a:p>
          <a:endParaRPr lang="ru-RU"/>
        </a:p>
      </dgm:t>
    </dgm:pt>
    <dgm:pt modelId="{68214C27-8208-4CFA-8EFF-3B48BB20B43E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17,1%</a:t>
          </a:r>
          <a:endParaRPr lang="ru-RU" dirty="0">
            <a:solidFill>
              <a:schemeClr val="bg1"/>
            </a:solidFill>
          </a:endParaRPr>
        </a:p>
      </dgm:t>
    </dgm:pt>
    <dgm:pt modelId="{74A56B6A-55DC-45A1-A81D-ED709FCC6130}" type="parTrans" cxnId="{3E057051-B9F3-4B91-ABAC-D2089F037999}">
      <dgm:prSet/>
      <dgm:spPr/>
      <dgm:t>
        <a:bodyPr/>
        <a:lstStyle/>
        <a:p>
          <a:endParaRPr lang="ru-RU"/>
        </a:p>
      </dgm:t>
    </dgm:pt>
    <dgm:pt modelId="{8FE6861E-6C43-45AC-80AF-FA3F68B64EEE}" type="sibTrans" cxnId="{3E057051-B9F3-4B91-ABAC-D2089F037999}">
      <dgm:prSet/>
      <dgm:spPr/>
      <dgm:t>
        <a:bodyPr/>
        <a:lstStyle/>
        <a:p>
          <a:endParaRPr lang="ru-RU"/>
        </a:p>
      </dgm:t>
    </dgm:pt>
    <dgm:pt modelId="{43962071-3400-4C1D-A492-81C71F9522FC}">
      <dgm:prSet/>
      <dgm:spPr/>
      <dgm:t>
        <a:bodyPr/>
        <a:lstStyle/>
        <a:p>
          <a:pPr rtl="0"/>
          <a:r>
            <a:rPr lang="ru-RU" dirty="0" smtClean="0"/>
            <a:t>Общая система налогообложения  </a:t>
          </a:r>
          <a:endParaRPr lang="ru-RU" dirty="0"/>
        </a:p>
      </dgm:t>
    </dgm:pt>
    <dgm:pt modelId="{C2D4104C-D2F8-46EE-B64D-BBB523E678E2}" type="parTrans" cxnId="{171DB07D-6110-43AA-98D1-0680DBC1F64C}">
      <dgm:prSet/>
      <dgm:spPr/>
      <dgm:t>
        <a:bodyPr/>
        <a:lstStyle/>
        <a:p>
          <a:endParaRPr lang="ru-RU"/>
        </a:p>
      </dgm:t>
    </dgm:pt>
    <dgm:pt modelId="{D0C150A6-B83E-4998-936F-8095A11AA755}" type="sibTrans" cxnId="{171DB07D-6110-43AA-98D1-0680DBC1F64C}">
      <dgm:prSet/>
      <dgm:spPr/>
      <dgm:t>
        <a:bodyPr/>
        <a:lstStyle/>
        <a:p>
          <a:endParaRPr lang="ru-RU"/>
        </a:p>
      </dgm:t>
    </dgm:pt>
    <dgm:pt modelId="{631A9812-27E1-4546-B27E-CFEBB8B2E7AE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7,7%</a:t>
          </a:r>
          <a:endParaRPr lang="ru-RU" dirty="0">
            <a:solidFill>
              <a:schemeClr val="bg1"/>
            </a:solidFill>
          </a:endParaRPr>
        </a:p>
      </dgm:t>
    </dgm:pt>
    <dgm:pt modelId="{8B63B32F-37A7-40F4-A5EA-02E7198C1F1D}" type="parTrans" cxnId="{FCF19FB8-CF2D-43CB-818E-06D1BA675E9E}">
      <dgm:prSet/>
      <dgm:spPr/>
      <dgm:t>
        <a:bodyPr/>
        <a:lstStyle/>
        <a:p>
          <a:endParaRPr lang="ru-RU"/>
        </a:p>
      </dgm:t>
    </dgm:pt>
    <dgm:pt modelId="{52BA3BD0-CC0B-4993-8A3C-1E2B9E0D6EBC}" type="sibTrans" cxnId="{FCF19FB8-CF2D-43CB-818E-06D1BA675E9E}">
      <dgm:prSet/>
      <dgm:spPr/>
      <dgm:t>
        <a:bodyPr/>
        <a:lstStyle/>
        <a:p>
          <a:endParaRPr lang="ru-RU"/>
        </a:p>
      </dgm:t>
    </dgm:pt>
    <dgm:pt modelId="{E928F78B-065B-4BCC-AEB7-84A8A031D955}">
      <dgm:prSet/>
      <dgm:spPr/>
      <dgm:t>
        <a:bodyPr/>
        <a:lstStyle/>
        <a:p>
          <a:pPr rtl="0"/>
          <a:r>
            <a:rPr lang="ru-RU" dirty="0" smtClean="0"/>
            <a:t>Патентная система налогообложения  </a:t>
          </a:r>
          <a:endParaRPr lang="ru-RU" dirty="0"/>
        </a:p>
      </dgm:t>
    </dgm:pt>
    <dgm:pt modelId="{0BBE89C9-5C09-4789-9667-1992441A4DE7}" type="parTrans" cxnId="{E45C977A-4658-45A0-9E48-90840C9690C4}">
      <dgm:prSet/>
      <dgm:spPr/>
      <dgm:t>
        <a:bodyPr/>
        <a:lstStyle/>
        <a:p>
          <a:endParaRPr lang="ru-RU"/>
        </a:p>
      </dgm:t>
    </dgm:pt>
    <dgm:pt modelId="{33501828-FF46-4CF7-8326-5760C3B65934}" type="sibTrans" cxnId="{E45C977A-4658-45A0-9E48-90840C9690C4}">
      <dgm:prSet/>
      <dgm:spPr/>
      <dgm:t>
        <a:bodyPr/>
        <a:lstStyle/>
        <a:p>
          <a:endParaRPr lang="ru-RU"/>
        </a:p>
      </dgm:t>
    </dgm:pt>
    <dgm:pt modelId="{404A267D-AE5B-4FE7-8CF9-5CE2FECF2FB7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4,6%</a:t>
          </a:r>
          <a:endParaRPr lang="ru-RU" dirty="0">
            <a:solidFill>
              <a:schemeClr val="bg1"/>
            </a:solidFill>
          </a:endParaRPr>
        </a:p>
      </dgm:t>
    </dgm:pt>
    <dgm:pt modelId="{F45B893B-A907-419D-9139-B63400130C2A}" type="parTrans" cxnId="{DF1448CA-2D33-40B0-BE1E-55F4019A5241}">
      <dgm:prSet/>
      <dgm:spPr/>
      <dgm:t>
        <a:bodyPr/>
        <a:lstStyle/>
        <a:p>
          <a:endParaRPr lang="ru-RU"/>
        </a:p>
      </dgm:t>
    </dgm:pt>
    <dgm:pt modelId="{B11032FD-D1CF-45A0-A999-3F7626802073}" type="sibTrans" cxnId="{DF1448CA-2D33-40B0-BE1E-55F4019A5241}">
      <dgm:prSet/>
      <dgm:spPr/>
      <dgm:t>
        <a:bodyPr/>
        <a:lstStyle/>
        <a:p>
          <a:endParaRPr lang="ru-RU"/>
        </a:p>
      </dgm:t>
    </dgm:pt>
    <dgm:pt modelId="{2F28272D-22EF-4276-B099-50640158E69C}">
      <dgm:prSet/>
      <dgm:spPr/>
      <dgm:t>
        <a:bodyPr/>
        <a:lstStyle/>
        <a:p>
          <a:pPr rtl="0"/>
          <a:r>
            <a:rPr lang="ru-RU" dirty="0" smtClean="0"/>
            <a:t>Единый сельскохозяйственный налог  </a:t>
          </a:r>
          <a:endParaRPr lang="ru-RU" dirty="0"/>
        </a:p>
      </dgm:t>
    </dgm:pt>
    <dgm:pt modelId="{7AB4F7D9-27C6-4EF1-AD99-CBF9B605FB63}" type="parTrans" cxnId="{614234ED-9246-47B3-8584-C4FBBE93AD8A}">
      <dgm:prSet/>
      <dgm:spPr/>
      <dgm:t>
        <a:bodyPr/>
        <a:lstStyle/>
        <a:p>
          <a:endParaRPr lang="ru-RU"/>
        </a:p>
      </dgm:t>
    </dgm:pt>
    <dgm:pt modelId="{0E8E2609-25F4-42CC-A17C-0DC27BC6A7C9}" type="sibTrans" cxnId="{614234ED-9246-47B3-8584-C4FBBE93AD8A}">
      <dgm:prSet/>
      <dgm:spPr/>
      <dgm:t>
        <a:bodyPr/>
        <a:lstStyle/>
        <a:p>
          <a:endParaRPr lang="ru-RU"/>
        </a:p>
      </dgm:t>
    </dgm:pt>
    <dgm:pt modelId="{34D7ABDA-EB3D-4914-B055-6E5F46F1F14B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1,6%</a:t>
          </a:r>
          <a:endParaRPr lang="ru-RU" dirty="0">
            <a:solidFill>
              <a:schemeClr val="bg1"/>
            </a:solidFill>
          </a:endParaRPr>
        </a:p>
      </dgm:t>
    </dgm:pt>
    <dgm:pt modelId="{0F72F307-E38E-4CE1-8004-45C8CECB8629}" type="parTrans" cxnId="{95FD6BAE-B0EE-4A50-9741-D789E4BA3687}">
      <dgm:prSet/>
      <dgm:spPr/>
      <dgm:t>
        <a:bodyPr/>
        <a:lstStyle/>
        <a:p>
          <a:endParaRPr lang="ru-RU"/>
        </a:p>
      </dgm:t>
    </dgm:pt>
    <dgm:pt modelId="{A6C30AAA-8D17-4B8F-B60E-4A15FF49051A}" type="sibTrans" cxnId="{95FD6BAE-B0EE-4A50-9741-D789E4BA3687}">
      <dgm:prSet/>
      <dgm:spPr/>
      <dgm:t>
        <a:bodyPr/>
        <a:lstStyle/>
        <a:p>
          <a:endParaRPr lang="ru-RU"/>
        </a:p>
      </dgm:t>
    </dgm:pt>
    <dgm:pt modelId="{476DE0B2-E891-49D0-BFD4-09A55D1849BA}">
      <dgm:prSet/>
      <dgm:spPr>
        <a:solidFill>
          <a:srgbClr val="FFC000">
            <a:alpha val="90000"/>
          </a:srgbClr>
        </a:solidFill>
      </dgm:spPr>
      <dgm:t>
        <a:bodyPr/>
        <a:lstStyle/>
        <a:p>
          <a:pPr rtl="0"/>
          <a:r>
            <a:rPr lang="ru-RU" dirty="0" smtClean="0">
              <a:solidFill>
                <a:schemeClr val="bg1"/>
              </a:solidFill>
            </a:rPr>
            <a:t>34,5%</a:t>
          </a:r>
          <a:endParaRPr lang="ru-RU" dirty="0">
            <a:solidFill>
              <a:schemeClr val="bg1"/>
            </a:solidFill>
          </a:endParaRPr>
        </a:p>
      </dgm:t>
    </dgm:pt>
    <dgm:pt modelId="{18F3BCBB-63B0-4F81-B023-5C9C2327D860}" type="sibTrans" cxnId="{686A4D72-665C-41FF-99A3-7F8FD774AD4D}">
      <dgm:prSet/>
      <dgm:spPr/>
      <dgm:t>
        <a:bodyPr/>
        <a:lstStyle/>
        <a:p>
          <a:endParaRPr lang="ru-RU"/>
        </a:p>
      </dgm:t>
    </dgm:pt>
    <dgm:pt modelId="{851A7A36-DA67-4D65-BA9C-694EC1AEB54A}" type="parTrans" cxnId="{686A4D72-665C-41FF-99A3-7F8FD774AD4D}">
      <dgm:prSet/>
      <dgm:spPr/>
      <dgm:t>
        <a:bodyPr/>
        <a:lstStyle/>
        <a:p>
          <a:endParaRPr lang="ru-RU"/>
        </a:p>
      </dgm:t>
    </dgm:pt>
    <dgm:pt modelId="{E730344C-2BAA-439B-87C8-506834015589}" type="pres">
      <dgm:prSet presAssocID="{71057749-BA4B-489F-9DAB-A72BD753A17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9FEB43E-A7CF-401E-A5CE-DD8281E00298}" type="pres">
      <dgm:prSet presAssocID="{4FD94E2D-5837-42AD-9BE3-2458C44488A6}" presName="linNode" presStyleCnt="0"/>
      <dgm:spPr/>
    </dgm:pt>
    <dgm:pt modelId="{DC945263-BE7B-43C5-8321-4461EC7E94CC}" type="pres">
      <dgm:prSet presAssocID="{4FD94E2D-5837-42AD-9BE3-2458C44488A6}" presName="parentText" presStyleLbl="node1" presStyleIdx="0" presStyleCnt="6" custScaleX="20867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702CFDF-CFEF-45C8-9364-3ED4BFB93447}" type="pres">
      <dgm:prSet presAssocID="{4FD94E2D-5837-42AD-9BE3-2458C44488A6}" presName="descendantText" presStyleLbl="alignAccFollowNode1" presStyleIdx="0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9CE0F9-C958-42D1-AEBA-6F5BB22D707D}" type="pres">
      <dgm:prSet presAssocID="{F06DFAD4-CF81-4F5B-AA27-1E07BFFE072C}" presName="sp" presStyleCnt="0"/>
      <dgm:spPr/>
    </dgm:pt>
    <dgm:pt modelId="{6CDF6DFC-9027-4CFB-B825-8890D32A65D5}" type="pres">
      <dgm:prSet presAssocID="{655B8C38-897E-4A4F-85D1-1AA39E291B96}" presName="linNode" presStyleCnt="0"/>
      <dgm:spPr/>
    </dgm:pt>
    <dgm:pt modelId="{925B1BD0-7ED5-4E8C-A421-451A40186B99}" type="pres">
      <dgm:prSet presAssocID="{655B8C38-897E-4A4F-85D1-1AA39E291B96}" presName="parentText" presStyleLbl="node1" presStyleIdx="1" presStyleCnt="6" custScaleX="20905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8276E56-4D0B-4F87-B7E1-11B633F29E44}" type="pres">
      <dgm:prSet presAssocID="{655B8C38-897E-4A4F-85D1-1AA39E291B96}" presName="descendantText" presStyleLbl="alignAccFollowNode1" presStyleIdx="1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CAB7AE7-DAB3-4DB3-9969-F59494B9CAE5}" type="pres">
      <dgm:prSet presAssocID="{9F77893B-4B15-41A7-93E7-264FDA181B23}" presName="sp" presStyleCnt="0"/>
      <dgm:spPr/>
    </dgm:pt>
    <dgm:pt modelId="{2C2526E6-8C1E-4D63-BD8B-D0E23E519DDC}" type="pres">
      <dgm:prSet presAssocID="{B5F50FD0-AC7A-4035-9593-984A9D8033AB}" presName="linNode" presStyleCnt="0"/>
      <dgm:spPr/>
    </dgm:pt>
    <dgm:pt modelId="{B65A67EC-507F-45D8-803B-06990DC76878}" type="pres">
      <dgm:prSet presAssocID="{B5F50FD0-AC7A-4035-9593-984A9D8033AB}" presName="parentText" presStyleLbl="node1" presStyleIdx="2" presStyleCnt="6" custScaleX="20961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37F81B-EC5F-4D87-BAED-390DD6CC2872}" type="pres">
      <dgm:prSet presAssocID="{B5F50FD0-AC7A-4035-9593-984A9D8033AB}" presName="descendantText" presStyleLbl="alignAccFollowNode1" presStyleIdx="2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0C422AC-F2ED-4581-B1CB-024EDD9AB901}" type="pres">
      <dgm:prSet presAssocID="{35F8BBA3-3888-413A-8038-F333444CF770}" presName="sp" presStyleCnt="0"/>
      <dgm:spPr/>
    </dgm:pt>
    <dgm:pt modelId="{29F42C3E-F4BC-4D60-BC0B-0274D8E8B8CC}" type="pres">
      <dgm:prSet presAssocID="{43962071-3400-4C1D-A492-81C71F9522FC}" presName="linNode" presStyleCnt="0"/>
      <dgm:spPr/>
    </dgm:pt>
    <dgm:pt modelId="{1FFCD895-C2A9-4C8E-A25C-7A1C9B1A9936}" type="pres">
      <dgm:prSet presAssocID="{43962071-3400-4C1D-A492-81C71F9522FC}" presName="parentText" presStyleLbl="node1" presStyleIdx="3" presStyleCnt="6" custScaleX="209635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0F320A9-86BE-4CC9-B71B-D8126E15DF7F}" type="pres">
      <dgm:prSet presAssocID="{43962071-3400-4C1D-A492-81C71F9522FC}" presName="descendantText" presStyleLbl="alignAccFollowNode1" presStyleIdx="3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32121BB-44D5-445A-A8A4-ABEAD5E030BC}" type="pres">
      <dgm:prSet presAssocID="{D0C150A6-B83E-4998-936F-8095A11AA755}" presName="sp" presStyleCnt="0"/>
      <dgm:spPr/>
    </dgm:pt>
    <dgm:pt modelId="{3E21DDF1-1528-4409-95F9-B6B700354FDD}" type="pres">
      <dgm:prSet presAssocID="{E928F78B-065B-4BCC-AEB7-84A8A031D955}" presName="linNode" presStyleCnt="0"/>
      <dgm:spPr/>
    </dgm:pt>
    <dgm:pt modelId="{E95E26EF-3B4B-443D-90C0-345EBBEB0A16}" type="pres">
      <dgm:prSet presAssocID="{E928F78B-065B-4BCC-AEB7-84A8A031D955}" presName="parentText" presStyleLbl="node1" presStyleIdx="4" presStyleCnt="6" custScaleX="20905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485AF1-5BC1-4054-A7CE-35080BE46F4C}" type="pres">
      <dgm:prSet presAssocID="{E928F78B-065B-4BCC-AEB7-84A8A031D955}" presName="descendantText" presStyleLbl="alignAccFollowNode1" presStyleIdx="4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857786-5FBC-441D-9459-61CF8AE39105}" type="pres">
      <dgm:prSet presAssocID="{33501828-FF46-4CF7-8326-5760C3B65934}" presName="sp" presStyleCnt="0"/>
      <dgm:spPr/>
    </dgm:pt>
    <dgm:pt modelId="{6EB4AF3E-301A-4B61-9E32-A17BADC08537}" type="pres">
      <dgm:prSet presAssocID="{2F28272D-22EF-4276-B099-50640158E69C}" presName="linNode" presStyleCnt="0"/>
      <dgm:spPr/>
    </dgm:pt>
    <dgm:pt modelId="{BFCD3978-E31E-42A0-A429-74B4D001302E}" type="pres">
      <dgm:prSet presAssocID="{2F28272D-22EF-4276-B099-50640158E69C}" presName="parentText" presStyleLbl="node1" presStyleIdx="5" presStyleCnt="6" custScaleX="208648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6572019-4409-457C-A496-70441FD1AA7C}" type="pres">
      <dgm:prSet presAssocID="{2F28272D-22EF-4276-B099-50640158E69C}" presName="descendantText" presStyleLbl="alignAccFollowNode1" presStyleIdx="5" presStyleCnt="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80D21E3-FA0A-4047-875C-4EC50B19D0AC}" type="presOf" srcId="{B5F50FD0-AC7A-4035-9593-984A9D8033AB}" destId="{B65A67EC-507F-45D8-803B-06990DC76878}" srcOrd="0" destOrd="0" presId="urn:microsoft.com/office/officeart/2005/8/layout/vList5"/>
    <dgm:cxn modelId="{ECE9A605-94F9-44B0-ADC2-BC8DED6BE67D}" srcId="{655B8C38-897E-4A4F-85D1-1AA39E291B96}" destId="{E2D2BD72-F0B9-4DA4-8C98-07DB10FDC71B}" srcOrd="0" destOrd="0" parTransId="{FBEC1404-8094-490F-990C-915754B66F91}" sibTransId="{F032228C-74B0-4068-8B8D-004EC227E16A}"/>
    <dgm:cxn modelId="{E45C977A-4658-45A0-9E48-90840C9690C4}" srcId="{71057749-BA4B-489F-9DAB-A72BD753A17B}" destId="{E928F78B-065B-4BCC-AEB7-84A8A031D955}" srcOrd="4" destOrd="0" parTransId="{0BBE89C9-5C09-4789-9667-1992441A4DE7}" sibTransId="{33501828-FF46-4CF7-8326-5760C3B65934}"/>
    <dgm:cxn modelId="{B3059F29-28F0-4A0C-B50C-4D85874069E9}" type="presOf" srcId="{476DE0B2-E891-49D0-BFD4-09A55D1849BA}" destId="{B702CFDF-CFEF-45C8-9364-3ED4BFB93447}" srcOrd="0" destOrd="0" presId="urn:microsoft.com/office/officeart/2005/8/layout/vList5"/>
    <dgm:cxn modelId="{171DB07D-6110-43AA-98D1-0680DBC1F64C}" srcId="{71057749-BA4B-489F-9DAB-A72BD753A17B}" destId="{43962071-3400-4C1D-A492-81C71F9522FC}" srcOrd="3" destOrd="0" parTransId="{C2D4104C-D2F8-46EE-B64D-BBB523E678E2}" sibTransId="{D0C150A6-B83E-4998-936F-8095A11AA755}"/>
    <dgm:cxn modelId="{5FB3B1D7-D40F-49D2-90E7-88FF2D8C7924}" srcId="{71057749-BA4B-489F-9DAB-A72BD753A17B}" destId="{655B8C38-897E-4A4F-85D1-1AA39E291B96}" srcOrd="1" destOrd="0" parTransId="{67471B6B-EEF7-4CE7-847B-B8B5E2D27C7F}" sibTransId="{9F77893B-4B15-41A7-93E7-264FDA181B23}"/>
    <dgm:cxn modelId="{1C2F40C6-297A-4654-A200-6F18682B1995}" type="presOf" srcId="{43962071-3400-4C1D-A492-81C71F9522FC}" destId="{1FFCD895-C2A9-4C8E-A25C-7A1C9B1A9936}" srcOrd="0" destOrd="0" presId="urn:microsoft.com/office/officeart/2005/8/layout/vList5"/>
    <dgm:cxn modelId="{DF1448CA-2D33-40B0-BE1E-55F4019A5241}" srcId="{E928F78B-065B-4BCC-AEB7-84A8A031D955}" destId="{404A267D-AE5B-4FE7-8CF9-5CE2FECF2FB7}" srcOrd="0" destOrd="0" parTransId="{F45B893B-A907-419D-9139-B63400130C2A}" sibTransId="{B11032FD-D1CF-45A0-A999-3F7626802073}"/>
    <dgm:cxn modelId="{DEB8E7B1-F6B0-4E1F-8F0B-C0B397CCA713}" type="presOf" srcId="{655B8C38-897E-4A4F-85D1-1AA39E291B96}" destId="{925B1BD0-7ED5-4E8C-A421-451A40186B99}" srcOrd="0" destOrd="0" presId="urn:microsoft.com/office/officeart/2005/8/layout/vList5"/>
    <dgm:cxn modelId="{FDB95190-62AB-4E41-8C13-652546917DCB}" type="presOf" srcId="{2F28272D-22EF-4276-B099-50640158E69C}" destId="{BFCD3978-E31E-42A0-A429-74B4D001302E}" srcOrd="0" destOrd="0" presId="urn:microsoft.com/office/officeart/2005/8/layout/vList5"/>
    <dgm:cxn modelId="{2E6D0E8C-56C9-45D6-93DF-986469502012}" type="presOf" srcId="{4FD94E2D-5837-42AD-9BE3-2458C44488A6}" destId="{DC945263-BE7B-43C5-8321-4461EC7E94CC}" srcOrd="0" destOrd="0" presId="urn:microsoft.com/office/officeart/2005/8/layout/vList5"/>
    <dgm:cxn modelId="{95FD6BAE-B0EE-4A50-9741-D789E4BA3687}" srcId="{2F28272D-22EF-4276-B099-50640158E69C}" destId="{34D7ABDA-EB3D-4914-B055-6E5F46F1F14B}" srcOrd="0" destOrd="0" parTransId="{0F72F307-E38E-4CE1-8004-45C8CECB8629}" sibTransId="{A6C30AAA-8D17-4B8F-B60E-4A15FF49051A}"/>
    <dgm:cxn modelId="{686A4D72-665C-41FF-99A3-7F8FD774AD4D}" srcId="{4FD94E2D-5837-42AD-9BE3-2458C44488A6}" destId="{476DE0B2-E891-49D0-BFD4-09A55D1849BA}" srcOrd="0" destOrd="0" parTransId="{851A7A36-DA67-4D65-BA9C-694EC1AEB54A}" sibTransId="{18F3BCBB-63B0-4F81-B023-5C9C2327D860}"/>
    <dgm:cxn modelId="{69AAEA02-F6FC-4512-92DF-C2AD6BF3577D}" type="presOf" srcId="{E2D2BD72-F0B9-4DA4-8C98-07DB10FDC71B}" destId="{C8276E56-4D0B-4F87-B7E1-11B633F29E44}" srcOrd="0" destOrd="0" presId="urn:microsoft.com/office/officeart/2005/8/layout/vList5"/>
    <dgm:cxn modelId="{0E0C5FA1-5209-4107-BCCA-51F26B6BC42F}" type="presOf" srcId="{404A267D-AE5B-4FE7-8CF9-5CE2FECF2FB7}" destId="{78485AF1-5BC1-4054-A7CE-35080BE46F4C}" srcOrd="0" destOrd="0" presId="urn:microsoft.com/office/officeart/2005/8/layout/vList5"/>
    <dgm:cxn modelId="{0BE33A95-9EF8-45CA-9F8D-68B53DAFDE3D}" type="presOf" srcId="{34D7ABDA-EB3D-4914-B055-6E5F46F1F14B}" destId="{C6572019-4409-457C-A496-70441FD1AA7C}" srcOrd="0" destOrd="0" presId="urn:microsoft.com/office/officeart/2005/8/layout/vList5"/>
    <dgm:cxn modelId="{936B1877-3620-46B9-BF1B-A6B4B841D009}" srcId="{71057749-BA4B-489F-9DAB-A72BD753A17B}" destId="{4FD94E2D-5837-42AD-9BE3-2458C44488A6}" srcOrd="0" destOrd="0" parTransId="{9A7EC745-DA9A-45F8-A932-93F1BF6C04CE}" sibTransId="{F06DFAD4-CF81-4F5B-AA27-1E07BFFE072C}"/>
    <dgm:cxn modelId="{0AD9EFC2-AC00-42F3-95FD-976BDDC05C22}" type="presOf" srcId="{71057749-BA4B-489F-9DAB-A72BD753A17B}" destId="{E730344C-2BAA-439B-87C8-506834015589}" srcOrd="0" destOrd="0" presId="urn:microsoft.com/office/officeart/2005/8/layout/vList5"/>
    <dgm:cxn modelId="{3E057051-B9F3-4B91-ABAC-D2089F037999}" srcId="{B5F50FD0-AC7A-4035-9593-984A9D8033AB}" destId="{68214C27-8208-4CFA-8EFF-3B48BB20B43E}" srcOrd="0" destOrd="0" parTransId="{74A56B6A-55DC-45A1-A81D-ED709FCC6130}" sibTransId="{8FE6861E-6C43-45AC-80AF-FA3F68B64EEE}"/>
    <dgm:cxn modelId="{4B639E78-39A6-48CB-BAAB-7E3AF13C5338}" srcId="{71057749-BA4B-489F-9DAB-A72BD753A17B}" destId="{B5F50FD0-AC7A-4035-9593-984A9D8033AB}" srcOrd="2" destOrd="0" parTransId="{1DC5E318-28DF-4CBE-9245-62B489E479B4}" sibTransId="{35F8BBA3-3888-413A-8038-F333444CF770}"/>
    <dgm:cxn modelId="{6A363613-E0FB-4699-A20B-02D915A97377}" type="presOf" srcId="{E928F78B-065B-4BCC-AEB7-84A8A031D955}" destId="{E95E26EF-3B4B-443D-90C0-345EBBEB0A16}" srcOrd="0" destOrd="0" presId="urn:microsoft.com/office/officeart/2005/8/layout/vList5"/>
    <dgm:cxn modelId="{614234ED-9246-47B3-8584-C4FBBE93AD8A}" srcId="{71057749-BA4B-489F-9DAB-A72BD753A17B}" destId="{2F28272D-22EF-4276-B099-50640158E69C}" srcOrd="5" destOrd="0" parTransId="{7AB4F7D9-27C6-4EF1-AD99-CBF9B605FB63}" sibTransId="{0E8E2609-25F4-42CC-A17C-0DC27BC6A7C9}"/>
    <dgm:cxn modelId="{B498B41C-5E7F-42FD-9250-5A86BAE38095}" type="presOf" srcId="{631A9812-27E1-4546-B27E-CFEBB8B2E7AE}" destId="{70F320A9-86BE-4CC9-B71B-D8126E15DF7F}" srcOrd="0" destOrd="0" presId="urn:microsoft.com/office/officeart/2005/8/layout/vList5"/>
    <dgm:cxn modelId="{03D29137-844E-40DF-9FDA-7CC7D0D01424}" type="presOf" srcId="{68214C27-8208-4CFA-8EFF-3B48BB20B43E}" destId="{DD37F81B-EC5F-4D87-BAED-390DD6CC2872}" srcOrd="0" destOrd="0" presId="urn:microsoft.com/office/officeart/2005/8/layout/vList5"/>
    <dgm:cxn modelId="{FCF19FB8-CF2D-43CB-818E-06D1BA675E9E}" srcId="{43962071-3400-4C1D-A492-81C71F9522FC}" destId="{631A9812-27E1-4546-B27E-CFEBB8B2E7AE}" srcOrd="0" destOrd="0" parTransId="{8B63B32F-37A7-40F4-A5EA-02E7198C1F1D}" sibTransId="{52BA3BD0-CC0B-4993-8A3C-1E2B9E0D6EBC}"/>
    <dgm:cxn modelId="{E5636EF4-3C8E-4DCA-A15D-706C23B27902}" type="presParOf" srcId="{E730344C-2BAA-439B-87C8-506834015589}" destId="{F9FEB43E-A7CF-401E-A5CE-DD8281E00298}" srcOrd="0" destOrd="0" presId="urn:microsoft.com/office/officeart/2005/8/layout/vList5"/>
    <dgm:cxn modelId="{5F2FC371-D6C4-44C0-B490-1E92BFF09C89}" type="presParOf" srcId="{F9FEB43E-A7CF-401E-A5CE-DD8281E00298}" destId="{DC945263-BE7B-43C5-8321-4461EC7E94CC}" srcOrd="0" destOrd="0" presId="urn:microsoft.com/office/officeart/2005/8/layout/vList5"/>
    <dgm:cxn modelId="{1B072B1C-4DA0-43E5-8255-BC27CDD2A573}" type="presParOf" srcId="{F9FEB43E-A7CF-401E-A5CE-DD8281E00298}" destId="{B702CFDF-CFEF-45C8-9364-3ED4BFB93447}" srcOrd="1" destOrd="0" presId="urn:microsoft.com/office/officeart/2005/8/layout/vList5"/>
    <dgm:cxn modelId="{A7304E7B-634F-4AB5-8DE4-3C56A2D9998E}" type="presParOf" srcId="{E730344C-2BAA-439B-87C8-506834015589}" destId="{179CE0F9-C958-42D1-AEBA-6F5BB22D707D}" srcOrd="1" destOrd="0" presId="urn:microsoft.com/office/officeart/2005/8/layout/vList5"/>
    <dgm:cxn modelId="{6BA93F02-C7A2-4105-8FB2-159420EAE0AE}" type="presParOf" srcId="{E730344C-2BAA-439B-87C8-506834015589}" destId="{6CDF6DFC-9027-4CFB-B825-8890D32A65D5}" srcOrd="2" destOrd="0" presId="urn:microsoft.com/office/officeart/2005/8/layout/vList5"/>
    <dgm:cxn modelId="{C3850071-8511-4023-B667-BC4D128AB552}" type="presParOf" srcId="{6CDF6DFC-9027-4CFB-B825-8890D32A65D5}" destId="{925B1BD0-7ED5-4E8C-A421-451A40186B99}" srcOrd="0" destOrd="0" presId="urn:microsoft.com/office/officeart/2005/8/layout/vList5"/>
    <dgm:cxn modelId="{0C943BFA-647E-4EEA-BD34-0046968E52E0}" type="presParOf" srcId="{6CDF6DFC-9027-4CFB-B825-8890D32A65D5}" destId="{C8276E56-4D0B-4F87-B7E1-11B633F29E44}" srcOrd="1" destOrd="0" presId="urn:microsoft.com/office/officeart/2005/8/layout/vList5"/>
    <dgm:cxn modelId="{7491AD34-92F6-47F8-9B40-0B7159E3737C}" type="presParOf" srcId="{E730344C-2BAA-439B-87C8-506834015589}" destId="{8CAB7AE7-DAB3-4DB3-9969-F59494B9CAE5}" srcOrd="3" destOrd="0" presId="urn:microsoft.com/office/officeart/2005/8/layout/vList5"/>
    <dgm:cxn modelId="{362BACCC-03F8-46C3-89B8-FF0983F4000F}" type="presParOf" srcId="{E730344C-2BAA-439B-87C8-506834015589}" destId="{2C2526E6-8C1E-4D63-BD8B-D0E23E519DDC}" srcOrd="4" destOrd="0" presId="urn:microsoft.com/office/officeart/2005/8/layout/vList5"/>
    <dgm:cxn modelId="{780240E7-193D-4787-B4B5-BA935BB9E68D}" type="presParOf" srcId="{2C2526E6-8C1E-4D63-BD8B-D0E23E519DDC}" destId="{B65A67EC-507F-45D8-803B-06990DC76878}" srcOrd="0" destOrd="0" presId="urn:microsoft.com/office/officeart/2005/8/layout/vList5"/>
    <dgm:cxn modelId="{01CB95DF-7C93-4AAD-8B9A-E63B59A82605}" type="presParOf" srcId="{2C2526E6-8C1E-4D63-BD8B-D0E23E519DDC}" destId="{DD37F81B-EC5F-4D87-BAED-390DD6CC2872}" srcOrd="1" destOrd="0" presId="urn:microsoft.com/office/officeart/2005/8/layout/vList5"/>
    <dgm:cxn modelId="{F8503246-B677-4B0E-92EF-9CC03C04AA0E}" type="presParOf" srcId="{E730344C-2BAA-439B-87C8-506834015589}" destId="{20C422AC-F2ED-4581-B1CB-024EDD9AB901}" srcOrd="5" destOrd="0" presId="urn:microsoft.com/office/officeart/2005/8/layout/vList5"/>
    <dgm:cxn modelId="{7232EB82-2041-4015-BDCD-830A8FEECE12}" type="presParOf" srcId="{E730344C-2BAA-439B-87C8-506834015589}" destId="{29F42C3E-F4BC-4D60-BC0B-0274D8E8B8CC}" srcOrd="6" destOrd="0" presId="urn:microsoft.com/office/officeart/2005/8/layout/vList5"/>
    <dgm:cxn modelId="{6B5274B2-5E27-4092-9FD7-55093FD0469D}" type="presParOf" srcId="{29F42C3E-F4BC-4D60-BC0B-0274D8E8B8CC}" destId="{1FFCD895-C2A9-4C8E-A25C-7A1C9B1A9936}" srcOrd="0" destOrd="0" presId="urn:microsoft.com/office/officeart/2005/8/layout/vList5"/>
    <dgm:cxn modelId="{5DEF3F0C-026A-4963-A18C-5516E7C367A1}" type="presParOf" srcId="{29F42C3E-F4BC-4D60-BC0B-0274D8E8B8CC}" destId="{70F320A9-86BE-4CC9-B71B-D8126E15DF7F}" srcOrd="1" destOrd="0" presId="urn:microsoft.com/office/officeart/2005/8/layout/vList5"/>
    <dgm:cxn modelId="{528A5A63-70F3-4175-930B-F07F08092862}" type="presParOf" srcId="{E730344C-2BAA-439B-87C8-506834015589}" destId="{D32121BB-44D5-445A-A8A4-ABEAD5E030BC}" srcOrd="7" destOrd="0" presId="urn:microsoft.com/office/officeart/2005/8/layout/vList5"/>
    <dgm:cxn modelId="{D32B57B8-80F9-43FA-AE9C-706592DEACCA}" type="presParOf" srcId="{E730344C-2BAA-439B-87C8-506834015589}" destId="{3E21DDF1-1528-4409-95F9-B6B700354FDD}" srcOrd="8" destOrd="0" presId="urn:microsoft.com/office/officeart/2005/8/layout/vList5"/>
    <dgm:cxn modelId="{99A00027-922E-4683-94A2-CB879430FC3D}" type="presParOf" srcId="{3E21DDF1-1528-4409-95F9-B6B700354FDD}" destId="{E95E26EF-3B4B-443D-90C0-345EBBEB0A16}" srcOrd="0" destOrd="0" presId="urn:microsoft.com/office/officeart/2005/8/layout/vList5"/>
    <dgm:cxn modelId="{C762C180-17C3-4594-91E7-A93445BAD95F}" type="presParOf" srcId="{3E21DDF1-1528-4409-95F9-B6B700354FDD}" destId="{78485AF1-5BC1-4054-A7CE-35080BE46F4C}" srcOrd="1" destOrd="0" presId="urn:microsoft.com/office/officeart/2005/8/layout/vList5"/>
    <dgm:cxn modelId="{03E8C82A-275B-4981-86FD-125168A08591}" type="presParOf" srcId="{E730344C-2BAA-439B-87C8-506834015589}" destId="{2E857786-5FBC-441D-9459-61CF8AE39105}" srcOrd="9" destOrd="0" presId="urn:microsoft.com/office/officeart/2005/8/layout/vList5"/>
    <dgm:cxn modelId="{531E6F09-E9BD-4EE2-84D6-F5BA40F3A587}" type="presParOf" srcId="{E730344C-2BAA-439B-87C8-506834015589}" destId="{6EB4AF3E-301A-4B61-9E32-A17BADC08537}" srcOrd="10" destOrd="0" presId="urn:microsoft.com/office/officeart/2005/8/layout/vList5"/>
    <dgm:cxn modelId="{902FFAE3-C8F7-4888-9F85-F7804BBBB15E}" type="presParOf" srcId="{6EB4AF3E-301A-4B61-9E32-A17BADC08537}" destId="{BFCD3978-E31E-42A0-A429-74B4D001302E}" srcOrd="0" destOrd="0" presId="urn:microsoft.com/office/officeart/2005/8/layout/vList5"/>
    <dgm:cxn modelId="{ADC69A76-B498-4A7E-BB99-097FC87810BA}" type="presParOf" srcId="{6EB4AF3E-301A-4B61-9E32-A17BADC08537}" destId="{C6572019-4409-457C-A496-70441FD1AA7C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6C1DCCC-3794-4BB2-9309-9CA621D50ECC}" type="doc">
      <dgm:prSet loTypeId="urn:microsoft.com/office/officeart/2005/8/layout/lProcess3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A28FD118-6306-4EBD-9F7D-F75682ADC120}">
      <dgm:prSet/>
      <dgm:spPr>
        <a:solidFill>
          <a:srgbClr val="76B531"/>
        </a:solidFill>
      </dgm:spPr>
      <dgm:t>
        <a:bodyPr/>
        <a:lstStyle/>
        <a:p>
          <a:pPr rtl="0"/>
          <a:r>
            <a:rPr lang="ru-RU" b="1" smtClean="0"/>
            <a:t>Увеличение числа занятых в МСП с 19.2 до  25 млн.</a:t>
          </a:r>
        </a:p>
        <a:p>
          <a:pPr rtl="0"/>
          <a:r>
            <a:rPr lang="ru-RU" b="1" smtClean="0">
              <a:solidFill>
                <a:schemeClr val="accent1"/>
              </a:solidFill>
            </a:rPr>
            <a:t>(33 % от числа занятых)</a:t>
          </a:r>
          <a:endParaRPr lang="ru-RU" b="1" dirty="0">
            <a:solidFill>
              <a:schemeClr val="accent1"/>
            </a:solidFill>
          </a:endParaRPr>
        </a:p>
      </dgm:t>
    </dgm:pt>
    <dgm:pt modelId="{D0DC9299-7281-47A4-A5F0-7F4A74606E7D}" type="parTrans" cxnId="{339004E9-E54E-4360-AB4A-2ED604CDC339}">
      <dgm:prSet/>
      <dgm:spPr/>
      <dgm:t>
        <a:bodyPr/>
        <a:lstStyle/>
        <a:p>
          <a:endParaRPr lang="ru-RU"/>
        </a:p>
      </dgm:t>
    </dgm:pt>
    <dgm:pt modelId="{9C478D17-B272-43A8-BA59-4D1272A8EC58}" type="sibTrans" cxnId="{339004E9-E54E-4360-AB4A-2ED604CDC339}">
      <dgm:prSet/>
      <dgm:spPr/>
      <dgm:t>
        <a:bodyPr/>
        <a:lstStyle/>
        <a:p>
          <a:endParaRPr lang="ru-RU"/>
        </a:p>
      </dgm:t>
    </dgm:pt>
    <dgm:pt modelId="{00E9BE8A-57E6-4317-8524-9A1F8D6F1B73}">
      <dgm:prSet/>
      <dgm:spPr>
        <a:solidFill>
          <a:srgbClr val="76B531"/>
        </a:solidFill>
      </dgm:spPr>
      <dgm:t>
        <a:bodyPr/>
        <a:lstStyle/>
        <a:p>
          <a:pPr rtl="0"/>
          <a:r>
            <a:rPr lang="ru-RU" b="1" dirty="0" smtClean="0"/>
            <a:t>Увеличение доли МСП в ВВП с </a:t>
          </a:r>
        </a:p>
        <a:p>
          <a:pPr rtl="0"/>
          <a:r>
            <a:rPr lang="ru-RU" b="1" dirty="0" smtClean="0"/>
            <a:t>22.3 % до 32.5 %</a:t>
          </a:r>
          <a:endParaRPr lang="ru-RU" b="1" dirty="0"/>
        </a:p>
      </dgm:t>
    </dgm:pt>
    <dgm:pt modelId="{8C8369C5-AFD1-422B-9CA1-B1FE1E08EC19}" type="parTrans" cxnId="{80F9BBEC-BB0E-41A0-8DBF-67B3C3D1E74E}">
      <dgm:prSet/>
      <dgm:spPr/>
      <dgm:t>
        <a:bodyPr/>
        <a:lstStyle/>
        <a:p>
          <a:endParaRPr lang="ru-RU"/>
        </a:p>
      </dgm:t>
    </dgm:pt>
    <dgm:pt modelId="{9EDB58FA-F7E0-4A35-99DA-2ED9A4B63CE3}" type="sibTrans" cxnId="{80F9BBEC-BB0E-41A0-8DBF-67B3C3D1E74E}">
      <dgm:prSet/>
      <dgm:spPr/>
      <dgm:t>
        <a:bodyPr/>
        <a:lstStyle/>
        <a:p>
          <a:endParaRPr lang="ru-RU"/>
        </a:p>
      </dgm:t>
    </dgm:pt>
    <dgm:pt modelId="{160AF5E3-E551-4B5C-98A8-CF3E326C8FFF}">
      <dgm:prSet/>
      <dgm:spPr>
        <a:solidFill>
          <a:srgbClr val="76B531"/>
        </a:solidFill>
      </dgm:spPr>
      <dgm:t>
        <a:bodyPr/>
        <a:lstStyle/>
        <a:p>
          <a:pPr rtl="0"/>
          <a:r>
            <a:rPr lang="ru-RU" b="1" dirty="0" smtClean="0"/>
            <a:t>Увеличение доли экспортеров-МСП с 8.6 % до 10 %</a:t>
          </a:r>
          <a:endParaRPr lang="ru-RU" b="1" dirty="0"/>
        </a:p>
      </dgm:t>
    </dgm:pt>
    <dgm:pt modelId="{77486C80-96EF-4A87-8A72-5F3F5B426C2E}" type="parTrans" cxnId="{B4944051-D7EB-4C9A-B96C-D92042F03D2A}">
      <dgm:prSet/>
      <dgm:spPr/>
      <dgm:t>
        <a:bodyPr/>
        <a:lstStyle/>
        <a:p>
          <a:endParaRPr lang="ru-RU"/>
        </a:p>
      </dgm:t>
    </dgm:pt>
    <dgm:pt modelId="{9F23D614-ED40-4AA6-8FE8-3FA14AB98B8B}" type="sibTrans" cxnId="{B4944051-D7EB-4C9A-B96C-D92042F03D2A}">
      <dgm:prSet/>
      <dgm:spPr/>
      <dgm:t>
        <a:bodyPr/>
        <a:lstStyle/>
        <a:p>
          <a:endParaRPr lang="ru-RU"/>
        </a:p>
      </dgm:t>
    </dgm:pt>
    <dgm:pt modelId="{69AC6946-F895-49C7-91D0-BE65ABCB2777}" type="pres">
      <dgm:prSet presAssocID="{76C1DCCC-3794-4BB2-9309-9CA621D50ECC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52E81F4-A497-4A37-82A1-1BAD0742922A}" type="pres">
      <dgm:prSet presAssocID="{A28FD118-6306-4EBD-9F7D-F75682ADC120}" presName="horFlow" presStyleCnt="0"/>
      <dgm:spPr/>
    </dgm:pt>
    <dgm:pt modelId="{B56FBB9A-F79E-4F9A-9A35-76D6A2E0D74C}" type="pres">
      <dgm:prSet presAssocID="{A28FD118-6306-4EBD-9F7D-F75682ADC120}" presName="bigChev" presStyleLbl="node1" presStyleIdx="0" presStyleCnt="3" custLinFactX="-4290" custLinFactNeighborX="-100000" custLinFactNeighborY="3280"/>
      <dgm:spPr/>
      <dgm:t>
        <a:bodyPr/>
        <a:lstStyle/>
        <a:p>
          <a:endParaRPr lang="ru-RU"/>
        </a:p>
      </dgm:t>
    </dgm:pt>
    <dgm:pt modelId="{B542F416-C848-4AB7-8EBD-9B1C76B00074}" type="pres">
      <dgm:prSet presAssocID="{A28FD118-6306-4EBD-9F7D-F75682ADC120}" presName="vSp" presStyleCnt="0"/>
      <dgm:spPr/>
    </dgm:pt>
    <dgm:pt modelId="{C650278E-F8C7-4EBD-B06F-B2D692DEA6B1}" type="pres">
      <dgm:prSet presAssocID="{00E9BE8A-57E6-4317-8524-9A1F8D6F1B73}" presName="horFlow" presStyleCnt="0"/>
      <dgm:spPr/>
    </dgm:pt>
    <dgm:pt modelId="{33980BC6-E4B7-4F8C-87EF-3681DB0F3005}" type="pres">
      <dgm:prSet presAssocID="{00E9BE8A-57E6-4317-8524-9A1F8D6F1B73}" presName="bigChev" presStyleLbl="node1" presStyleIdx="1" presStyleCnt="3" custLinFactY="-10720" custLinFactNeighborX="9532" custLinFactNeighborY="-100000"/>
      <dgm:spPr/>
      <dgm:t>
        <a:bodyPr/>
        <a:lstStyle/>
        <a:p>
          <a:endParaRPr lang="ru-RU"/>
        </a:p>
      </dgm:t>
    </dgm:pt>
    <dgm:pt modelId="{434DC4C9-F693-47CB-B55F-5B79933605E1}" type="pres">
      <dgm:prSet presAssocID="{00E9BE8A-57E6-4317-8524-9A1F8D6F1B73}" presName="vSp" presStyleCnt="0"/>
      <dgm:spPr/>
    </dgm:pt>
    <dgm:pt modelId="{3A667617-B9BB-4475-AB17-014CCC653D56}" type="pres">
      <dgm:prSet presAssocID="{160AF5E3-E551-4B5C-98A8-CF3E326C8FFF}" presName="horFlow" presStyleCnt="0"/>
      <dgm:spPr/>
    </dgm:pt>
    <dgm:pt modelId="{3FD7410D-2EB1-4625-B136-E9E41DD1ABE6}" type="pres">
      <dgm:prSet presAssocID="{160AF5E3-E551-4B5C-98A8-CF3E326C8FFF}" presName="bigChev" presStyleLbl="node1" presStyleIdx="2" presStyleCnt="3" custLinFactX="10092" custLinFactY="-100000" custLinFactNeighborX="100000" custLinFactNeighborY="-124720"/>
      <dgm:spPr/>
      <dgm:t>
        <a:bodyPr/>
        <a:lstStyle/>
        <a:p>
          <a:endParaRPr lang="ru-RU"/>
        </a:p>
      </dgm:t>
    </dgm:pt>
  </dgm:ptLst>
  <dgm:cxnLst>
    <dgm:cxn modelId="{2B2E1757-FCA6-4C93-97BA-01CA13349A36}" type="presOf" srcId="{A28FD118-6306-4EBD-9F7D-F75682ADC120}" destId="{B56FBB9A-F79E-4F9A-9A35-76D6A2E0D74C}" srcOrd="0" destOrd="0" presId="urn:microsoft.com/office/officeart/2005/8/layout/lProcess3"/>
    <dgm:cxn modelId="{B4944051-D7EB-4C9A-B96C-D92042F03D2A}" srcId="{76C1DCCC-3794-4BB2-9309-9CA621D50ECC}" destId="{160AF5E3-E551-4B5C-98A8-CF3E326C8FFF}" srcOrd="2" destOrd="0" parTransId="{77486C80-96EF-4A87-8A72-5F3F5B426C2E}" sibTransId="{9F23D614-ED40-4AA6-8FE8-3FA14AB98B8B}"/>
    <dgm:cxn modelId="{339004E9-E54E-4360-AB4A-2ED604CDC339}" srcId="{76C1DCCC-3794-4BB2-9309-9CA621D50ECC}" destId="{A28FD118-6306-4EBD-9F7D-F75682ADC120}" srcOrd="0" destOrd="0" parTransId="{D0DC9299-7281-47A4-A5F0-7F4A74606E7D}" sibTransId="{9C478D17-B272-43A8-BA59-4D1272A8EC58}"/>
    <dgm:cxn modelId="{80F9BBEC-BB0E-41A0-8DBF-67B3C3D1E74E}" srcId="{76C1DCCC-3794-4BB2-9309-9CA621D50ECC}" destId="{00E9BE8A-57E6-4317-8524-9A1F8D6F1B73}" srcOrd="1" destOrd="0" parTransId="{8C8369C5-AFD1-422B-9CA1-B1FE1E08EC19}" sibTransId="{9EDB58FA-F7E0-4A35-99DA-2ED9A4B63CE3}"/>
    <dgm:cxn modelId="{9D4F5C09-4AE3-4EBA-A183-223F8FC011E3}" type="presOf" srcId="{00E9BE8A-57E6-4317-8524-9A1F8D6F1B73}" destId="{33980BC6-E4B7-4F8C-87EF-3681DB0F3005}" srcOrd="0" destOrd="0" presId="urn:microsoft.com/office/officeart/2005/8/layout/lProcess3"/>
    <dgm:cxn modelId="{1CACE963-E7B0-40DD-9F3B-01B4BCAECAC5}" type="presOf" srcId="{76C1DCCC-3794-4BB2-9309-9CA621D50ECC}" destId="{69AC6946-F895-49C7-91D0-BE65ABCB2777}" srcOrd="0" destOrd="0" presId="urn:microsoft.com/office/officeart/2005/8/layout/lProcess3"/>
    <dgm:cxn modelId="{EC480418-7367-4962-95E9-57527B0FFFD3}" type="presOf" srcId="{160AF5E3-E551-4B5C-98A8-CF3E326C8FFF}" destId="{3FD7410D-2EB1-4625-B136-E9E41DD1ABE6}" srcOrd="0" destOrd="0" presId="urn:microsoft.com/office/officeart/2005/8/layout/lProcess3"/>
    <dgm:cxn modelId="{172826B2-1DBF-4B38-861D-B253CFA63F7C}" type="presParOf" srcId="{69AC6946-F895-49C7-91D0-BE65ABCB2777}" destId="{752E81F4-A497-4A37-82A1-1BAD0742922A}" srcOrd="0" destOrd="0" presId="urn:microsoft.com/office/officeart/2005/8/layout/lProcess3"/>
    <dgm:cxn modelId="{6956545D-5C22-4925-9E10-7C454EB2A4E5}" type="presParOf" srcId="{752E81F4-A497-4A37-82A1-1BAD0742922A}" destId="{B56FBB9A-F79E-4F9A-9A35-76D6A2E0D74C}" srcOrd="0" destOrd="0" presId="urn:microsoft.com/office/officeart/2005/8/layout/lProcess3"/>
    <dgm:cxn modelId="{756F3428-77BF-4B13-9389-2A7D374409D2}" type="presParOf" srcId="{69AC6946-F895-49C7-91D0-BE65ABCB2777}" destId="{B542F416-C848-4AB7-8EBD-9B1C76B00074}" srcOrd="1" destOrd="0" presId="urn:microsoft.com/office/officeart/2005/8/layout/lProcess3"/>
    <dgm:cxn modelId="{5CB7A24C-0854-4CFC-BE3C-2C5F43BFAB9E}" type="presParOf" srcId="{69AC6946-F895-49C7-91D0-BE65ABCB2777}" destId="{C650278E-F8C7-4EBD-B06F-B2D692DEA6B1}" srcOrd="2" destOrd="0" presId="urn:microsoft.com/office/officeart/2005/8/layout/lProcess3"/>
    <dgm:cxn modelId="{489D2EDF-831A-40B1-80B1-029F80030052}" type="presParOf" srcId="{C650278E-F8C7-4EBD-B06F-B2D692DEA6B1}" destId="{33980BC6-E4B7-4F8C-87EF-3681DB0F3005}" srcOrd="0" destOrd="0" presId="urn:microsoft.com/office/officeart/2005/8/layout/lProcess3"/>
    <dgm:cxn modelId="{F870844C-4058-42DB-902E-27E7B761DF98}" type="presParOf" srcId="{69AC6946-F895-49C7-91D0-BE65ABCB2777}" destId="{434DC4C9-F693-47CB-B55F-5B79933605E1}" srcOrd="3" destOrd="0" presId="urn:microsoft.com/office/officeart/2005/8/layout/lProcess3"/>
    <dgm:cxn modelId="{C6F64C3F-0B9C-4F24-9C00-A698CDF992FA}" type="presParOf" srcId="{69AC6946-F895-49C7-91D0-BE65ABCB2777}" destId="{3A667617-B9BB-4475-AB17-014CCC653D56}" srcOrd="4" destOrd="0" presId="urn:microsoft.com/office/officeart/2005/8/layout/lProcess3"/>
    <dgm:cxn modelId="{A58A13A8-C121-4887-91E6-A6F6EF53DA38}" type="presParOf" srcId="{3A667617-B9BB-4475-AB17-014CCC653D56}" destId="{3FD7410D-2EB1-4625-B136-E9E41DD1ABE6}" srcOrd="0" destOrd="0" presId="urn:microsoft.com/office/officeart/2005/8/layout/lProcess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73AF47-8475-47C0-AD97-B2FEB1784EE5}">
      <dsp:nvSpPr>
        <dsp:cNvPr id="0" name=""/>
        <dsp:cNvSpPr/>
      </dsp:nvSpPr>
      <dsp:spPr>
        <a:xfrm>
          <a:off x="17890" y="0"/>
          <a:ext cx="3281879" cy="11015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0960" tIns="60960" rIns="60960" bIns="60960" numCol="1" spcCol="1270" anchor="ctr" anchorCtr="0">
          <a:noAutofit/>
        </a:bodyPr>
        <a:lstStyle/>
        <a:p>
          <a:pPr lvl="0" algn="l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Базовый федеральный закон - № 209-ФЗ «О развитии малого и среднего предпринимательства в РФ»</a:t>
          </a:r>
          <a:endParaRPr lang="ru-RU" sz="1600" kern="1200" dirty="0"/>
        </a:p>
      </dsp:txBody>
      <dsp:txXfrm>
        <a:off x="71663" y="53773"/>
        <a:ext cx="3174333" cy="994007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5234D8-6FEA-4142-8B2A-531A709916A2}">
      <dsp:nvSpPr>
        <dsp:cNvPr id="0" name=""/>
        <dsp:cNvSpPr/>
      </dsp:nvSpPr>
      <dsp:spPr>
        <a:xfrm>
          <a:off x="0" y="5353"/>
          <a:ext cx="3494436" cy="3000388"/>
        </a:xfrm>
        <a:prstGeom prst="swooshArrow">
          <a:avLst>
            <a:gd name="adj1" fmla="val 25000"/>
            <a:gd name="adj2" fmla="val 25000"/>
          </a:avLst>
        </a:prstGeom>
        <a:solidFill>
          <a:srgbClr val="5B9BD5">
            <a:tint val="40000"/>
            <a:hueOff val="0"/>
            <a:satOff val="0"/>
            <a:lumOff val="0"/>
            <a:alphaOff val="0"/>
          </a:srgbClr>
        </a:solidFill>
        <a:ln>
          <a:noFill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9524811-9E0B-4D07-98F8-4C014E5DDA7F}">
      <dsp:nvSpPr>
        <dsp:cNvPr id="0" name=""/>
        <dsp:cNvSpPr/>
      </dsp:nvSpPr>
      <dsp:spPr>
        <a:xfrm>
          <a:off x="412797" y="2101643"/>
          <a:ext cx="90855" cy="90855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A9AD3935-C9BE-4769-91E3-EC58B6F1750C}">
      <dsp:nvSpPr>
        <dsp:cNvPr id="0" name=""/>
        <dsp:cNvSpPr/>
      </dsp:nvSpPr>
      <dsp:spPr>
        <a:xfrm>
          <a:off x="211634" y="2242171"/>
          <a:ext cx="814203" cy="631182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8142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икро</a:t>
          </a:r>
        </a:p>
      </dsp:txBody>
      <dsp:txXfrm>
        <a:off x="211634" y="2242171"/>
        <a:ext cx="814203" cy="631182"/>
      </dsp:txXfrm>
    </dsp:sp>
    <dsp:sp modelId="{0A60BD1F-CD15-42D9-837F-C4E31B1C6F3C}">
      <dsp:nvSpPr>
        <dsp:cNvPr id="0" name=""/>
        <dsp:cNvSpPr/>
      </dsp:nvSpPr>
      <dsp:spPr>
        <a:xfrm>
          <a:off x="1139540" y="1370735"/>
          <a:ext cx="164238" cy="1642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0BA88991-AF70-477D-AC2A-088F57E86720}">
      <dsp:nvSpPr>
        <dsp:cNvPr id="0" name=""/>
        <dsp:cNvSpPr/>
      </dsp:nvSpPr>
      <dsp:spPr>
        <a:xfrm>
          <a:off x="941370" y="1590649"/>
          <a:ext cx="838664" cy="118810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7027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Малые</a:t>
          </a:r>
          <a:endParaRPr lang="ru-RU" sz="15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941370" y="1590649"/>
        <a:ext cx="838664" cy="1188108"/>
      </dsp:txXfrm>
    </dsp:sp>
    <dsp:sp modelId="{33EC8A4B-A3B1-4EA8-9537-025C42425E57}">
      <dsp:nvSpPr>
        <dsp:cNvPr id="0" name=""/>
        <dsp:cNvSpPr/>
      </dsp:nvSpPr>
      <dsp:spPr>
        <a:xfrm>
          <a:off x="2397544" y="609855"/>
          <a:ext cx="227138" cy="227138"/>
        </a:xfrm>
        <a:prstGeom prst="ellipse">
          <a:avLst/>
        </a:prstGeom>
        <a:solidFill>
          <a:srgbClr val="095F99">
            <a:alpha val="60000"/>
          </a:srgbClr>
        </a:solidFill>
        <a:ln w="12700" cap="flat" cmpd="sng" algn="ctr">
          <a:noFill/>
          <a:prstDash val="solid"/>
          <a:miter lim="800000"/>
        </a:ln>
        <a:effectLst>
          <a:outerShdw blurRad="44450" dist="27940" dir="5400000" algn="ctr" rotWithShape="0">
            <a:srgbClr val="000000">
              <a:alpha val="32000"/>
            </a:srgbClr>
          </a:outerShdw>
        </a:effectLst>
        <a:scene3d>
          <a:camera prst="orthographicFront">
            <a:rot lat="0" lon="0" rev="0"/>
          </a:camera>
          <a:lightRig rig="balanced" dir="t">
            <a:rot lat="0" lon="0" rev="8700000"/>
          </a:lightRig>
        </a:scene3d>
        <a:sp3d>
          <a:bevelT w="190500" h="38100"/>
        </a:sp3d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2D30517B-73BC-4E31-828C-977937893531}">
      <dsp:nvSpPr>
        <dsp:cNvPr id="0" name=""/>
        <dsp:cNvSpPr/>
      </dsp:nvSpPr>
      <dsp:spPr>
        <a:xfrm>
          <a:off x="1897548" y="879210"/>
          <a:ext cx="838664" cy="151789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0356" tIns="0" rIns="0" bIns="0" numCol="1" spcCol="1270" anchor="t" anchorCtr="0">
          <a:noAutofit/>
        </a:bodyPr>
        <a:lstStyle/>
        <a:p>
          <a:pPr lvl="0" algn="l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Средние</a:t>
          </a:r>
          <a:endParaRPr lang="ru-RU" sz="1500" b="1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1897548" y="879210"/>
        <a:ext cx="838664" cy="1517895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arrow2">
  <dgm:title val=""/>
  <dgm:desc val=""/>
  <dgm:catLst>
    <dgm:cat type="process" pri="2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arrowDiagram">
    <dgm:varLst>
      <dgm:chMax val="5"/>
      <dgm:dir/>
      <dgm:resizeHandles val="exact"/>
    </dgm:varLst>
    <dgm:alg type="composite">
      <dgm:param type="ar" val="1.6"/>
    </dgm:alg>
    <dgm:shape xmlns:r="http://schemas.openxmlformats.org/officeDocument/2006/relationships" r:blip="">
      <dgm:adjLst/>
    </dgm:shape>
    <dgm:presOf/>
    <dgm:constrLst>
      <dgm:constr type="l" for="ch" forName="arrow"/>
      <dgm:constr type="t" for="ch" forName="arrow"/>
      <dgm:constr type="w" for="ch" forName="arrow" refType="w"/>
      <dgm:constr type="h" for="ch" forName="arrow" refType="h"/>
      <dgm:constr type="ctrX" for="ch" forName="arrowDiagram1" refType="w" fact="0.5"/>
      <dgm:constr type="ctrY" for="ch" forName="arrowDiagram1" refType="h" fact="0.5"/>
      <dgm:constr type="w" for="ch" forName="arrowDiagram1" refType="w"/>
      <dgm:constr type="h" for="ch" forName="arrowDiagram1" refType="h"/>
      <dgm:constr type="ctrX" for="ch" forName="arrowDiagram2" refType="w" fact="0.5"/>
      <dgm:constr type="ctrY" for="ch" forName="arrowDiagram2" refType="h" fact="0.5"/>
      <dgm:constr type="w" for="ch" forName="arrowDiagram2" refType="w"/>
      <dgm:constr type="h" for="ch" forName="arrowDiagram2" refType="h"/>
      <dgm:constr type="ctrX" for="ch" forName="arrowDiagram3" refType="w" fact="0.5"/>
      <dgm:constr type="ctrY" for="ch" forName="arrowDiagram3" refType="h" fact="0.5"/>
      <dgm:constr type="w" for="ch" forName="arrowDiagram3" refType="w"/>
      <dgm:constr type="h" for="ch" forName="arrowDiagram3" refType="h"/>
      <dgm:constr type="ctrX" for="ch" forName="arrowDiagram4" refType="w" fact="0.5"/>
      <dgm:constr type="ctrY" for="ch" forName="arrowDiagram4" refType="h" fact="0.5"/>
      <dgm:constr type="w" for="ch" forName="arrowDiagram4" refType="w"/>
      <dgm:constr type="h" for="ch" forName="arrowDiagram4" refType="h"/>
      <dgm:constr type="ctrX" for="ch" forName="arrowDiagram5" refType="w" fact="0.5"/>
      <dgm:constr type="ctrY" for="ch" forName="arrowDiagram5" refType="h" fact="0.5"/>
      <dgm:constr type="w" for="ch" forName="arrowDiagram5" refType="w"/>
      <dgm:constr type="h" for="ch" forName="arrowDiagram5" refType="h"/>
    </dgm:constrLst>
    <dgm:ruleLst/>
    <dgm:choose name="Name0">
      <dgm:if name="Name1" axis="ch" ptType="node" func="cnt" op="gte" val="1">
        <dgm:layoutNode name="arrow" styleLbl="bgShp">
          <dgm:alg type="sp"/>
          <dgm:shape xmlns:r="http://schemas.openxmlformats.org/officeDocument/2006/relationships" type="swooshArrow" r:blip="">
            <dgm:adjLst>
              <dgm:adj idx="2" val="0.25"/>
            </dgm:adjLst>
          </dgm:shape>
          <dgm:presOf/>
          <dgm:constrLst/>
          <dgm:ruleLst/>
        </dgm:layoutNode>
        <dgm:choose name="Name2">
          <dgm:if name="Name3" axis="ch" ptType="node" func="cnt" op="lt" val="1"/>
          <dgm:if name="Name4" axis="ch" ptType="node" func="cnt" op="equ" val="1">
            <dgm:layoutNode name="arrowDiagram1">
              <dgm:varLst>
                <dgm:bulletEnabled val="1"/>
              </dgm:varLst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ctrX" for="ch" forName="bullet1" refType="w" fact="0.8"/>
                <dgm:constr type="ctrY" for="ch" forName="bullet1" refType="h" fact="0.262"/>
                <dgm:constr type="w" for="ch" forName="bullet1" refType="w" fact="0.074"/>
                <dgm:constr type="h" for="ch" forName="bullet1" refType="w" refFor="ch" refForName="bullet1"/>
                <dgm:constr type="r" for="ch" forName="textBox1" refType="ctrX" refFor="ch" refForName="bullet1"/>
                <dgm:constr type="t" for="ch" forName="textBox1" refType="ctrY" refFor="ch" refForName="bullet1"/>
                <dgm:constr type="w" for="ch" forName="textBox1" refType="w" fact="0.4"/>
                <dgm:constr type="h" for="ch" forName="textBox1" refType="h" fact="0.738"/>
                <dgm:constr type="userA" refType="h" refFor="ch" refForName="bullet1" fact="0.53"/>
                <dgm:constr type="rMarg" for="ch" forName="textBox1" refType="userA" fact="2.834"/>
                <dgm:constr type="primFontSz" for="ch" ptType="node" op="equ" val="65"/>
              </dgm:constrLst>
              <dgm:ruleLst/>
              <dgm:forEach name="Name5" axis="ch" ptType="node" cnt="1">
                <dgm:layoutNode name="bullet1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1" styleLbl="revTx">
                  <dgm:varLst>
                    <dgm:bulletEnabled val="1"/>
                  </dgm:varLst>
                  <dgm:alg type="tx">
                    <dgm:param type="txAnchorVert" val="t"/>
                    <dgm:param type="parTxLTRAlign" val="r"/>
                    <dgm:param type="parTxRTLAlign" val="r"/>
                  </dgm:alg>
                  <dgm:shape xmlns:r="http://schemas.openxmlformats.org/officeDocument/2006/relationships" type="round2DiagRect" r:blip="">
                    <dgm:adjLst/>
                  </dgm:shape>
                  <dgm:presOf axis="desOrSelf" ptType="node"/>
                  <dgm:constrLst>
                    <dgm:constr type="lMarg"/>
                    <dgm:constr type="tMarg"/>
                    <dgm:constr type="bMarg"/>
                  </dgm:constrLst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6" axis="ch" ptType="node" func="cnt" op="equ" val="2">
            <dgm:layoutNode name="arrowDiagram2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7">
                <dgm:if name="Name8" func="var" arg="dir" op="equ" val="norm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l" for="ch" forName="textBox2a" refType="ctrX" refFor="ch" refForName="bullet2a"/>
                    <dgm:constr type="t" for="ch" forName="textBox2a" refType="ctrY" refFor="ch" refForName="bullet2a"/>
                    <dgm:constr type="w" for="ch" forName="textBox2a" refType="w" fact="0.325"/>
                    <dgm:constr type="h" for="ch" forName="textBox2a" refType="h" fact="0.427"/>
                    <dgm:constr type="userA" refType="h" refFor="ch" refForName="bullet2a" fact="0.53"/>
                    <dgm:constr type="l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l" for="ch" forName="textBox2b" refType="ctrX" refFor="ch" refForName="bullet2b"/>
                    <dgm:constr type="t" for="ch" forName="textBox2b" refType="ctrY" refFor="ch" refForName="bullet2b"/>
                    <dgm:constr type="w" for="ch" forName="textBox2b" refType="w" fact="0.325"/>
                    <dgm:constr type="h" for="ch" forName="textBox2b" refType="h" fact="0.662"/>
                    <dgm:constr type="userB" refType="h" refFor="ch" refForName="bullet2b" fact="0.53"/>
                    <dgm:constr type="lMarg" for="ch" forName="textBox2b" refType="userB" fact="2.834"/>
                    <dgm:constr type="primFontSz" for="ch" ptType="node" op="equ" val="65"/>
                  </dgm:constrLst>
                </dgm:if>
                <dgm:else name="Name9">
                  <dgm:constrLst>
                    <dgm:constr type="ctrX" for="ch" forName="bullet2a" refType="w" fact="0.25"/>
                    <dgm:constr type="ctrY" for="ch" forName="bullet2a" refType="h" fact="0.573"/>
                    <dgm:constr type="w" for="ch" forName="bullet2a" refType="w" fact="0.035"/>
                    <dgm:constr type="h" for="ch" forName="bullet2a" refType="w" refFor="ch" refForName="bullet2a"/>
                    <dgm:constr type="r" for="ch" forName="textBox2a" refType="ctrX" refFor="ch" refForName="bullet2a"/>
                    <dgm:constr type="b" for="ch" forName="textBox2a" refType="ctrY" refFor="ch" refForName="bullet2a"/>
                    <dgm:constr type="w" for="ch" forName="textBox2a" refType="w" fact="0.25"/>
                    <dgm:constr type="h" for="ch" forName="textBox2a" refType="h" fact="0.573"/>
                    <dgm:constr type="userA" refType="h" refFor="ch" refForName="bullet2a" fact="0.53"/>
                    <dgm:constr type="rMarg" for="ch" forName="textBox2a" refType="userA" fact="2.834"/>
                    <dgm:constr type="ctrX" for="ch" forName="bullet2b" refType="w" fact="0.585"/>
                    <dgm:constr type="ctrY" for="ch" forName="bullet2b" refType="h" fact="0.338"/>
                    <dgm:constr type="w" for="ch" forName="bullet2b" refType="w" fact="0.06"/>
                    <dgm:constr type="h" for="ch" forName="bullet2b" refType="w" refFor="ch" refForName="bullet2b"/>
                    <dgm:constr type="r" for="ch" forName="textBox2b" refType="ctrX" refFor="ch" refForName="bullet2b"/>
                    <dgm:constr type="b" for="ch" forName="textBox2b" refType="ctrY" refFor="ch" refForName="bullet2b"/>
                    <dgm:constr type="w" for="ch" forName="textBox2b" refType="w" fact="0.28"/>
                    <dgm:constr type="h" for="ch" forName="textBox2b" refType="h" fact="0.338"/>
                    <dgm:constr type="userB" refType="h" refFor="ch" refForName="bullet2b" fact="0.53"/>
                    <dgm:constr type="rMarg" for="ch" forName="textBox2b" refType="userB" fact="2.834"/>
                    <dgm:constr type="primFontSz" for="ch" ptType="node" op="equ" val="65"/>
                  </dgm:constrLst>
                </dgm:else>
              </dgm:choose>
              <dgm:ruleLst/>
              <dgm:forEach name="Name10" axis="ch" ptType="node" cnt="1">
                <dgm:layoutNode name="bullet2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a" styleLbl="revTx">
                  <dgm:varLst>
                    <dgm:bulletEnabled val="1"/>
                  </dgm:varLst>
                  <dgm:choose name="Name11">
                    <dgm:if name="Name12" func="var" arg="dir" op="equ" val="norm">
                      <dgm:choose name="Name13">
                        <dgm:if name="Name1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6">
                      <dgm:choose name="Name17">
                        <dgm:if name="Name1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">
                    <dgm:if name="Name2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23" axis="ch" ptType="node" st="2" cnt="1">
                <dgm:layoutNode name="bullet2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2b" styleLbl="revTx">
                  <dgm:varLst>
                    <dgm:bulletEnabled val="1"/>
                  </dgm:varLst>
                  <dgm:choose name="Name24">
                    <dgm:if name="Name25" func="var" arg="dir" op="equ" val="norm">
                      <dgm:choose name="Name26">
                        <dgm:if name="Name2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2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29">
                      <dgm:choose name="Name30">
                        <dgm:if name="Name3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3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33">
                    <dgm:if name="Name3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3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36" axis="ch" ptType="node" func="cnt" op="equ" val="3">
            <dgm:layoutNode name="arrowDiagram3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37">
                <dgm:if name="Name38" func="var" arg="dir" op="equ" val="norm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l" for="ch" forName="textBox3a" refType="ctrX" refFor="ch" refForName="bullet3a"/>
                    <dgm:constr type="t" for="ch" forName="textBox3a" refType="ctrY" refFor="ch" refForName="bullet3a"/>
                    <dgm:constr type="w" for="ch" forName="textBox3a" refType="w" fact="0.233"/>
                    <dgm:constr type="h" for="ch" forName="textBox3a" refType="h" fact="0.289"/>
                    <dgm:constr type="userA" refType="h" refFor="ch" refForName="bullet3a" fact="0.53"/>
                    <dgm:constr type="l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l" for="ch" forName="textBox3b" refType="ctrX" refFor="ch" refForName="bullet3b"/>
                    <dgm:constr type="t" for="ch" forName="textBox3b" refType="ctrY" refFor="ch" refForName="bullet3b"/>
                    <dgm:constr type="w" for="ch" forName="textBox3b" refType="w" fact="0.24"/>
                    <dgm:constr type="h" for="ch" forName="textBox3b" refType="h" fact="0.544"/>
                    <dgm:constr type="userB" refType="h" refFor="ch" refForName="bullet3b" fact="0.53"/>
                    <dgm:constr type="l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l" for="ch" forName="textBox3c" refType="ctrX" refFor="ch" refForName="bullet3c"/>
                    <dgm:constr type="t" for="ch" forName="textBox3c" refType="ctrY" refFor="ch" refForName="bullet3c"/>
                    <dgm:constr type="w" for="ch" forName="textBox3c" refType="w" fact="0.24"/>
                    <dgm:constr type="h" for="ch" forName="textBox3c" refType="h" fact="0.695"/>
                    <dgm:constr type="userC" refType="h" refFor="ch" refForName="bullet3c" fact="0.53"/>
                    <dgm:constr type="lMarg" for="ch" forName="textBox3c" refType="userC" fact="2.834"/>
                    <dgm:constr type="primFontSz" for="ch" ptType="node" op="equ" val="65"/>
                  </dgm:constrLst>
                </dgm:if>
                <dgm:else name="Name39">
                  <dgm:constrLst>
                    <dgm:constr type="ctrX" for="ch" forName="bullet3a" refType="w" fact="0.14"/>
                    <dgm:constr type="ctrY" for="ch" forName="bullet3a" refType="h" fact="0.711"/>
                    <dgm:constr type="w" for="ch" forName="bullet3a" refType="w" fact="0.026"/>
                    <dgm:constr type="h" for="ch" forName="bullet3a" refType="w" refFor="ch" refForName="bullet3a"/>
                    <dgm:constr type="r" for="ch" forName="textBox3a" refType="ctrX" refFor="ch" refForName="bullet3a"/>
                    <dgm:constr type="b" for="ch" forName="textBox3a" refType="ctrY" refFor="ch" refForName="bullet3a"/>
                    <dgm:constr type="w" for="ch" forName="textBox3a" refType="w" fact="0.14"/>
                    <dgm:constr type="h" for="ch" forName="textBox3a" refType="h" fact="0.711"/>
                    <dgm:constr type="userA" refType="h" refFor="ch" refForName="bullet3a" fact="0.53"/>
                    <dgm:constr type="rMarg" for="ch" forName="textBox3a" refType="userA" fact="2.834"/>
                    <dgm:constr type="ctrX" for="ch" forName="bullet3b" refType="w" fact="0.38"/>
                    <dgm:constr type="ctrY" for="ch" forName="bullet3b" refType="h" fact="0.456"/>
                    <dgm:constr type="w" for="ch" forName="bullet3b" refType="w" fact="0.047"/>
                    <dgm:constr type="h" for="ch" forName="bullet3b" refType="w" refFor="ch" refForName="bullet3b"/>
                    <dgm:constr type="r" for="ch" forName="textBox3b" refType="ctrX" refFor="ch" refForName="bullet3b"/>
                    <dgm:constr type="b" for="ch" forName="textBox3b" refType="ctrY" refFor="ch" refForName="bullet3b"/>
                    <dgm:constr type="w" for="ch" forName="textBox3b" refType="w" fact="0.24"/>
                    <dgm:constr type="h" for="ch" forName="textBox3b" refType="h" fact="0.456"/>
                    <dgm:constr type="userB" refType="h" refFor="ch" refForName="bullet3b" fact="0.53"/>
                    <dgm:constr type="rMarg" for="ch" forName="textBox3b" refType="userB" fact="2.834"/>
                    <dgm:constr type="ctrX" for="ch" forName="bullet3c" refType="w" fact="0.665"/>
                    <dgm:constr type="ctrY" for="ch" forName="bullet3c" refType="h" fact="0.305"/>
                    <dgm:constr type="w" for="ch" forName="bullet3c" refType="w" fact="0.065"/>
                    <dgm:constr type="h" for="ch" forName="bullet3c" refType="w" refFor="ch" refForName="bullet3c"/>
                    <dgm:constr type="r" for="ch" forName="textBox3c" refType="ctrX" refFor="ch" refForName="bullet3c"/>
                    <dgm:constr type="b" for="ch" forName="textBox3c" refType="ctrY" refFor="ch" refForName="bullet3c"/>
                    <dgm:constr type="w" for="ch" forName="textBox3c" refType="w" fact="0.24"/>
                    <dgm:constr type="h" for="ch" forName="textBox3c" refType="h" fact="0.305"/>
                    <dgm:constr type="userC" refType="h" refFor="ch" refForName="bullet3c" fact="0.53"/>
                    <dgm:constr type="rMarg" for="ch" forName="textBox3c" refType="userC" fact="2.834"/>
                    <dgm:constr type="primFontSz" for="ch" ptType="node" op="equ" val="65"/>
                  </dgm:constrLst>
                </dgm:else>
              </dgm:choose>
              <dgm:ruleLst/>
              <dgm:forEach name="Name40" axis="ch" ptType="node" cnt="1">
                <dgm:layoutNode name="bullet3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a" styleLbl="revTx">
                  <dgm:varLst>
                    <dgm:bulletEnabled val="1"/>
                  </dgm:varLst>
                  <dgm:choose name="Name41">
                    <dgm:if name="Name42" func="var" arg="dir" op="equ" val="norm">
                      <dgm:choose name="Name43">
                        <dgm:if name="Name44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45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46">
                      <dgm:choose name="Name47">
                        <dgm:if name="Name48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49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50">
                    <dgm:if name="Name51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52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53" axis="ch" ptType="node" st="2" cnt="1">
                <dgm:layoutNode name="bullet3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b" styleLbl="revTx">
                  <dgm:varLst>
                    <dgm:bulletEnabled val="1"/>
                  </dgm:varLst>
                  <dgm:choose name="Name54">
                    <dgm:if name="Name55" func="var" arg="dir" op="equ" val="norm">
                      <dgm:choose name="Name56">
                        <dgm:if name="Name5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5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59">
                      <dgm:choose name="Name60">
                        <dgm:if name="Name6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6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63">
                    <dgm:if name="Name6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6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66" axis="ch" ptType="node" st="3" cnt="1">
                <dgm:layoutNode name="bullet3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3c" styleLbl="revTx">
                  <dgm:varLst>
                    <dgm:bulletEnabled val="1"/>
                  </dgm:varLst>
                  <dgm:choose name="Name67">
                    <dgm:if name="Name68" func="var" arg="dir" op="equ" val="norm">
                      <dgm:choose name="Name69">
                        <dgm:if name="Name7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7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72">
                      <dgm:choose name="Name73">
                        <dgm:if name="Name7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7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76">
                    <dgm:if name="Name7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7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if name="Name79" axis="ch" ptType="node" func="cnt" op="equ" val="4">
            <dgm:layoutNode name="arrowDiagram4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80">
                <dgm:if name="Name81" func="var" arg="dir" op="equ" val="norm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l" for="ch" forName="textBox4a" refType="ctrX" refFor="ch" refForName="bullet4a"/>
                    <dgm:constr type="t" for="ch" forName="textBox4a" refType="ctrY" refFor="ch" refForName="bullet4a"/>
                    <dgm:constr type="w" for="ch" forName="textBox4a" refType="w" fact="0.171"/>
                    <dgm:constr type="h" for="ch" forName="textBox4a" refType="h" fact="0.238"/>
                    <dgm:constr type="userA" refType="h" refFor="ch" refForName="bullet4a" fact="0.53"/>
                    <dgm:constr type="l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l" for="ch" forName="textBox4b" refType="ctrX" refFor="ch" refForName="bullet4b"/>
                    <dgm:constr type="t" for="ch" forName="textBox4b" refType="ctrY" refFor="ch" refForName="bullet4b"/>
                    <dgm:constr type="w" for="ch" forName="textBox4b" refType="w" fact="0.21"/>
                    <dgm:constr type="h" for="ch" forName="textBox4b" refType="h" fact="0.457"/>
                    <dgm:constr type="userB" refType="h" refFor="ch" refForName="bullet4b" fact="0.53"/>
                    <dgm:constr type="l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l" for="ch" forName="textBox4c" refType="ctrX" refFor="ch" refForName="bullet4c"/>
                    <dgm:constr type="t" for="ch" forName="textBox4c" refType="ctrY" refFor="ch" refForName="bullet4c"/>
                    <dgm:constr type="w" for="ch" forName="textBox4c" refType="w" fact="0.21"/>
                    <dgm:constr type="h" for="ch" forName="textBox4c" refType="h" fact="0.618"/>
                    <dgm:constr type="userC" refType="h" refFor="ch" refForName="bullet4c" fact="0.53"/>
                    <dgm:constr type="l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l" for="ch" forName="textBox4d" refType="ctrX" refFor="ch" refForName="bullet4d"/>
                    <dgm:constr type="t" for="ch" forName="textBox4d" refType="ctrY" refFor="ch" refForName="bullet4d"/>
                    <dgm:constr type="w" for="ch" forName="textBox4d" refType="w" fact="0.21"/>
                    <dgm:constr type="h" for="ch" forName="textBox4d" refType="h" fact="0.717"/>
                    <dgm:constr type="userD" refType="h" refFor="ch" refForName="bullet4d" fact="0.53"/>
                    <dgm:constr type="lMarg" for="ch" forName="textBox4d" refType="userD" fact="2.834"/>
                    <dgm:constr type="primFontSz" for="ch" ptType="node" op="equ" val="65"/>
                  </dgm:constrLst>
                </dgm:if>
                <dgm:else name="Name82">
                  <dgm:constrLst>
                    <dgm:constr type="ctrX" for="ch" forName="bullet4a" refType="w" fact="0.11"/>
                    <dgm:constr type="ctrY" for="ch" forName="bullet4a" refType="h" fact="0.762"/>
                    <dgm:constr type="w" for="ch" forName="bullet4a" refType="w" fact="0.023"/>
                    <dgm:constr type="h" for="ch" forName="bullet4a" refType="w" refFor="ch" refForName="bullet4a"/>
                    <dgm:constr type="r" for="ch" forName="textBox4a" refType="ctrX" refFor="ch" refForName="bullet4a"/>
                    <dgm:constr type="b" for="ch" forName="textBox4a" refType="ctrY" refFor="ch" refForName="bullet4a"/>
                    <dgm:constr type="w" for="ch" forName="textBox4a" refType="w" fact="0.11"/>
                    <dgm:constr type="h" for="ch" forName="textBox4a" refType="h" fact="0.762"/>
                    <dgm:constr type="userA" refType="h" refFor="ch" refForName="bullet4a" fact="0.53"/>
                    <dgm:constr type="rMarg" for="ch" forName="textBox4a" refType="userA" fact="2.834"/>
                    <dgm:constr type="ctrX" for="ch" forName="bullet4b" refType="w" fact="0.281"/>
                    <dgm:constr type="ctrY" for="ch" forName="bullet4b" refType="h" fact="0.543"/>
                    <dgm:constr type="w" for="ch" forName="bullet4b" refType="w" fact="0.04"/>
                    <dgm:constr type="h" for="ch" forName="bullet4b" refType="w" refFor="ch" refForName="bullet4b"/>
                    <dgm:constr type="r" for="ch" forName="textBox4b" refType="ctrX" refFor="ch" refForName="bullet4b"/>
                    <dgm:constr type="b" for="ch" forName="textBox4b" refType="ctrY" refFor="ch" refForName="bullet4b"/>
                    <dgm:constr type="w" for="ch" forName="textBox4b" refType="w" fact="0.171"/>
                    <dgm:constr type="h" for="ch" forName="textBox4b" refType="h" fact="0.543"/>
                    <dgm:constr type="userB" refType="h" refFor="ch" refForName="bullet4b" fact="0.53"/>
                    <dgm:constr type="rMarg" for="ch" forName="textBox4b" refType="userB" fact="2.834"/>
                    <dgm:constr type="ctrX" for="ch" forName="bullet4c" refType="w" fact="0.495"/>
                    <dgm:constr type="ctrY" for="ch" forName="bullet4c" refType="h" fact="0.382"/>
                    <dgm:constr type="w" for="ch" forName="bullet4c" refType="w" fact="0.053"/>
                    <dgm:constr type="h" for="ch" forName="bullet4c" refType="w" refFor="ch" refForName="bullet4c"/>
                    <dgm:constr type="r" for="ch" forName="textBox4c" refType="ctrX" refFor="ch" refForName="bullet4c"/>
                    <dgm:constr type="b" for="ch" forName="textBox4c" refType="ctrY" refFor="ch" refForName="bullet4c"/>
                    <dgm:constr type="w" for="ch" forName="textBox4c" refType="w" fact="0.21"/>
                    <dgm:constr type="h" for="ch" forName="textBox4c" refType="h" fact="0.382"/>
                    <dgm:constr type="userC" refType="h" refFor="ch" refForName="bullet4c" fact="0.53"/>
                    <dgm:constr type="rMarg" for="ch" forName="textBox4c" refType="userC" fact="2.834"/>
                    <dgm:constr type="ctrX" for="ch" forName="bullet4d" refType="w" fact="0.73"/>
                    <dgm:constr type="ctrY" for="ch" forName="bullet4d" refType="h" fact="0.283"/>
                    <dgm:constr type="w" for="ch" forName="bullet4d" refType="w" fact="0.071"/>
                    <dgm:constr type="h" for="ch" forName="bullet4d" refType="w" refFor="ch" refForName="bullet4d"/>
                    <dgm:constr type="r" for="ch" forName="textBox4d" refType="ctrX" refFor="ch" refForName="bullet4d"/>
                    <dgm:constr type="b" for="ch" forName="textBox4d" refType="ctrY" refFor="ch" refForName="bullet4d"/>
                    <dgm:constr type="w" for="ch" forName="textBox4d" refType="w" fact="0.21"/>
                    <dgm:constr type="h" for="ch" forName="textBox4d" refType="h" fact="0.283"/>
                    <dgm:constr type="userD" refType="h" refFor="ch" refForName="bullet4d" fact="0.53"/>
                    <dgm:constr type="rMarg" for="ch" forName="textBox4d" refType="userD" fact="2.834"/>
                    <dgm:constr type="primFontSz" for="ch" ptType="node" op="equ" val="65"/>
                  </dgm:constrLst>
                </dgm:else>
              </dgm:choose>
              <dgm:ruleLst/>
              <dgm:forEach name="Name83" axis="ch" ptType="node" cnt="1">
                <dgm:layoutNode name="bullet4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a" styleLbl="revTx">
                  <dgm:varLst>
                    <dgm:bulletEnabled val="1"/>
                  </dgm:varLst>
                  <dgm:choose name="Name84">
                    <dgm:if name="Name85" func="var" arg="dir" op="equ" val="norm">
                      <dgm:choose name="Name86">
                        <dgm:if name="Name87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88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89">
                      <dgm:choose name="Name90">
                        <dgm:if name="Name91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92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93">
                    <dgm:if name="Name94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95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96" axis="ch" ptType="node" st="2" cnt="1">
                <dgm:layoutNode name="bullet4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b" styleLbl="revTx">
                  <dgm:varLst>
                    <dgm:bulletEnabled val="1"/>
                  </dgm:varLst>
                  <dgm:choose name="Name97">
                    <dgm:if name="Name98" func="var" arg="dir" op="equ" val="norm">
                      <dgm:choose name="Name99">
                        <dgm:if name="Name100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01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02">
                      <dgm:choose name="Name103">
                        <dgm:if name="Name104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05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06">
                    <dgm:if name="Name107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08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09" axis="ch" ptType="node" st="3" cnt="1">
                <dgm:layoutNode name="bullet4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c" styleLbl="revTx">
                  <dgm:varLst>
                    <dgm:bulletEnabled val="1"/>
                  </dgm:varLst>
                  <dgm:choose name="Name110">
                    <dgm:if name="Name111" func="var" arg="dir" op="equ" val="norm">
                      <dgm:choose name="Name112">
                        <dgm:if name="Name11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1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15">
                      <dgm:choose name="Name116">
                        <dgm:if name="Name11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1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19">
                    <dgm:if name="Name12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2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22" axis="ch" ptType="node" st="4" cnt="1">
                <dgm:layoutNode name="bullet4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4d" styleLbl="revTx">
                  <dgm:varLst>
                    <dgm:bulletEnabled val="1"/>
                  </dgm:varLst>
                  <dgm:choose name="Name123">
                    <dgm:if name="Name124" func="var" arg="dir" op="equ" val="norm">
                      <dgm:choose name="Name125">
                        <dgm:if name="Name12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2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28">
                      <dgm:choose name="Name129">
                        <dgm:if name="Name13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3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32">
                    <dgm:if name="Name13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3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if>
          <dgm:else name="Name135">
            <dgm:layoutNode name="arrowDiagram5">
              <dgm:alg type="composite">
                <dgm:param type="vertAlign" val="none"/>
                <dgm:param type="horzAlign" val="none"/>
              </dgm:alg>
              <dgm:shape xmlns:r="http://schemas.openxmlformats.org/officeDocument/2006/relationships" r:blip="">
                <dgm:adjLst/>
              </dgm:shape>
              <dgm:presOf/>
              <dgm:choose name="Name136">
                <dgm:if name="Name137" func="var" arg="dir" op="equ" val="norm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l" for="ch" forName="textBox5a" refType="ctrX" refFor="ch" refForName="bullet5a"/>
                    <dgm:constr type="t" for="ch" forName="textBox5a" refType="ctrY" refFor="ch" refForName="bullet5a"/>
                    <dgm:constr type="w" for="ch" forName="textBox5a" refType="w" fact="0.131"/>
                    <dgm:constr type="h" for="ch" forName="textBox5a" refType="h" fact="0.238"/>
                    <dgm:constr type="userA" refType="h" refFor="ch" refForName="bullet5a" fact="0.53"/>
                    <dgm:constr type="l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l" for="ch" forName="textBox5b" refType="ctrX" refFor="ch" refForName="bullet5b"/>
                    <dgm:constr type="t" for="ch" forName="textBox5b" refType="ctrY" refFor="ch" refForName="bullet5b"/>
                    <dgm:constr type="w" for="ch" forName="textBox5b" refType="w" fact="0.166"/>
                    <dgm:constr type="h" for="ch" forName="textBox5b" refType="h" fact="0.419"/>
                    <dgm:constr type="userB" refType="h" refFor="ch" refForName="bullet5b" fact="0.53"/>
                    <dgm:constr type="l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l" for="ch" forName="textBox5c" refType="ctrX" refFor="ch" refForName="bullet5c"/>
                    <dgm:constr type="t" for="ch" forName="textBox5c" refType="ctrY" refFor="ch" refForName="bullet5c"/>
                    <dgm:constr type="w" for="ch" forName="textBox5c" refType="w" fact="0.193"/>
                    <dgm:constr type="h" for="ch" forName="textBox5c" refType="h" fact="0.562"/>
                    <dgm:constr type="userC" refType="h" refFor="ch" refForName="bullet5c" fact="0.53"/>
                    <dgm:constr type="l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l" for="ch" forName="textBox5d" refType="ctrX" refFor="ch" refForName="bullet5d"/>
                    <dgm:constr type="t" for="ch" forName="textBox5d" refType="ctrY" refFor="ch" refForName="bullet5d"/>
                    <dgm:constr type="w" for="ch" forName="textBox5d" refType="w" fact="0.2"/>
                    <dgm:constr type="h" for="ch" forName="textBox5d" refType="h" fact="0.67"/>
                    <dgm:constr type="userD" refType="h" refFor="ch" refForName="bullet5d" fact="0.53"/>
                    <dgm:constr type="l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l" for="ch" forName="textBox5e" refType="ctrX" refFor="ch" refForName="bullet5e"/>
                    <dgm:constr type="t" for="ch" forName="textBox5e" refType="ctrY" refFor="ch" refForName="bullet5e"/>
                    <dgm:constr type="w" for="ch" forName="textBox5e" refType="w" fact="0.2"/>
                    <dgm:constr type="h" for="ch" forName="textBox5e" refType="h" fact="0.736"/>
                    <dgm:constr type="userE" refType="h" refFor="ch" refForName="bullet5e" fact="0.53"/>
                    <dgm:constr type="lMarg" for="ch" forName="textBox5e" refType="userE" fact="2.834"/>
                    <dgm:constr type="primFontSz" for="ch" ptType="node" op="equ" val="65"/>
                  </dgm:constrLst>
                </dgm:if>
                <dgm:else name="Name138">
                  <dgm:constrLst>
                    <dgm:constr type="ctrX" for="ch" forName="bullet5a" refType="w" fact="0.11"/>
                    <dgm:constr type="ctrY" for="ch" forName="bullet5a" refType="h" fact="0.762"/>
                    <dgm:constr type="w" for="ch" forName="bullet5a" refType="w" fact="0.023"/>
                    <dgm:constr type="h" for="ch" forName="bullet5a" refType="w" refFor="ch" refForName="bullet5a"/>
                    <dgm:constr type="r" for="ch" forName="textBox5a" refType="ctrX" refFor="ch" refForName="bullet5a"/>
                    <dgm:constr type="b" for="ch" forName="textBox5a" refType="ctrY" refFor="ch" refForName="bullet5a"/>
                    <dgm:constr type="w" for="ch" forName="textBox5a" refType="w" fact="0.11"/>
                    <dgm:constr type="h" for="ch" forName="textBox5a" refType="h" fact="0.762"/>
                    <dgm:constr type="userA" refType="h" refFor="ch" refForName="bullet5a" fact="0.53"/>
                    <dgm:constr type="rMarg" for="ch" forName="textBox5a" refType="userA" fact="2.834"/>
                    <dgm:constr type="ctrX" for="ch" forName="bullet5b" refType="w" fact="0.241"/>
                    <dgm:constr type="ctrY" for="ch" forName="bullet5b" refType="h" fact="0.581"/>
                    <dgm:constr type="w" for="ch" forName="bullet5b" refType="w" fact="0.036"/>
                    <dgm:constr type="h" for="ch" forName="bullet5b" refType="w" refFor="ch" refForName="bullet5b"/>
                    <dgm:constr type="r" for="ch" forName="textBox5b" refType="ctrX" refFor="ch" refForName="bullet5b"/>
                    <dgm:constr type="b" for="ch" forName="textBox5b" refType="ctrY" refFor="ch" refForName="bullet5b"/>
                    <dgm:constr type="w" for="ch" forName="textBox5b" refType="w" fact="0.131"/>
                    <dgm:constr type="h" for="ch" forName="textBox5b" refType="h" fact="0.581"/>
                    <dgm:constr type="userB" refType="h" refFor="ch" refForName="bullet5b" fact="0.53"/>
                    <dgm:constr type="rMarg" for="ch" forName="textBox5b" refType="userB" fact="2.834"/>
                    <dgm:constr type="ctrX" for="ch" forName="bullet5c" refType="w" fact="0.407"/>
                    <dgm:constr type="ctrY" for="ch" forName="bullet5c" refType="h" fact="0.438"/>
                    <dgm:constr type="w" for="ch" forName="bullet5c" refType="w" fact="0.048"/>
                    <dgm:constr type="h" for="ch" forName="bullet5c" refType="w" refFor="ch" refForName="bullet5c"/>
                    <dgm:constr type="r" for="ch" forName="textBox5c" refType="ctrX" refFor="ch" refForName="bullet5c"/>
                    <dgm:constr type="b" for="ch" forName="textBox5c" refType="ctrY" refFor="ch" refForName="bullet5c"/>
                    <dgm:constr type="w" for="ch" forName="textBox5c" refType="w" fact="0.166"/>
                    <dgm:constr type="h" for="ch" forName="textBox5c" refType="h" fact="0.438"/>
                    <dgm:constr type="userC" refType="h" refFor="ch" refForName="bullet5c" fact="0.53"/>
                    <dgm:constr type="rMarg" for="ch" forName="textBox5c" refType="userC" fact="2.834"/>
                    <dgm:constr type="ctrX" for="ch" forName="bullet5d" refType="w" fact="0.6"/>
                    <dgm:constr type="ctrY" for="ch" forName="bullet5d" refType="h" fact="0.33"/>
                    <dgm:constr type="w" for="ch" forName="bullet5d" refType="w" fact="0.062"/>
                    <dgm:constr type="h" for="ch" forName="bullet5d" refType="w" refFor="ch" refForName="bullet5d"/>
                    <dgm:constr type="r" for="ch" forName="textBox5d" refType="ctrX" refFor="ch" refForName="bullet5d"/>
                    <dgm:constr type="b" for="ch" forName="textBox5d" refType="ctrY" refFor="ch" refForName="bullet5d"/>
                    <dgm:constr type="w" for="ch" forName="textBox5d" refType="w" fact="0.193"/>
                    <dgm:constr type="h" for="ch" forName="textBox5d" refType="h" fact="0.33"/>
                    <dgm:constr type="userD" refType="h" refFor="ch" refForName="bullet5d" fact="0.53"/>
                    <dgm:constr type="rMarg" for="ch" forName="textBox5d" refType="userD" fact="2.834"/>
                    <dgm:constr type="ctrX" for="ch" forName="bullet5e" refType="w" fact="0.8"/>
                    <dgm:constr type="ctrY" for="ch" forName="bullet5e" refType="h" fact="0.264"/>
                    <dgm:constr type="w" for="ch" forName="bullet5e" refType="w" fact="0.079"/>
                    <dgm:constr type="h" for="ch" forName="bullet5e" refType="w" refFor="ch" refForName="bullet5e"/>
                    <dgm:constr type="r" for="ch" forName="textBox5e" refType="ctrX" refFor="ch" refForName="bullet5e"/>
                    <dgm:constr type="b" for="ch" forName="textBox5e" refType="ctrY" refFor="ch" refForName="bullet5e"/>
                    <dgm:constr type="w" for="ch" forName="textBox5e" refType="w" fact="0.2"/>
                    <dgm:constr type="h" for="ch" forName="textBox5e" refType="h" fact="0.264"/>
                    <dgm:constr type="userE" refType="h" refFor="ch" refForName="bullet5e" fact="0.53"/>
                    <dgm:constr type="rMarg" for="ch" forName="textBox5e" refType="userE" fact="2.834"/>
                    <dgm:constr type="primFontSz" for="ch" ptType="node" op="equ" val="65"/>
                  </dgm:constrLst>
                </dgm:else>
              </dgm:choose>
              <dgm:ruleLst/>
              <dgm:forEach name="Name139" axis="ch" ptType="node" cnt="1">
                <dgm:layoutNode name="bullet5a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a" styleLbl="revTx">
                  <dgm:varLst>
                    <dgm:bulletEnabled val="1"/>
                  </dgm:varLst>
                  <dgm:choose name="Name140">
                    <dgm:if name="Name141" func="var" arg="dir" op="equ" val="norm">
                      <dgm:choose name="Name142">
                        <dgm:if name="Name143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44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45">
                      <dgm:choose name="Name146">
                        <dgm:if name="Name147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48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49">
                    <dgm:if name="Name150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51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52" axis="ch" ptType="node" st="2" cnt="1">
                <dgm:layoutNode name="bullet5b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b" styleLbl="revTx">
                  <dgm:varLst>
                    <dgm:bulletEnabled val="1"/>
                  </dgm:varLst>
                  <dgm:choose name="Name153">
                    <dgm:if name="Name154" func="var" arg="dir" op="equ" val="norm">
                      <dgm:choose name="Name155">
                        <dgm:if name="Name156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57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58">
                      <dgm:choose name="Name159">
                        <dgm:if name="Name160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61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62">
                    <dgm:if name="Name163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64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65" axis="ch" ptType="node" st="3" cnt="1">
                <dgm:layoutNode name="bullet5c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c" styleLbl="revTx">
                  <dgm:varLst>
                    <dgm:bulletEnabled val="1"/>
                  </dgm:varLst>
                  <dgm:choose name="Name166">
                    <dgm:if name="Name167" func="var" arg="dir" op="equ" val="norm">
                      <dgm:choose name="Name168">
                        <dgm:if name="Name169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70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71">
                      <dgm:choose name="Name172">
                        <dgm:if name="Name173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74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75">
                    <dgm:if name="Name176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77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78" axis="ch" ptType="node" st="4" cnt="1">
                <dgm:layoutNode name="bullet5d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d" styleLbl="revTx">
                  <dgm:varLst>
                    <dgm:bulletEnabled val="1"/>
                  </dgm:varLst>
                  <dgm:choose name="Name179">
                    <dgm:if name="Name180" func="var" arg="dir" op="equ" val="norm">
                      <dgm:choose name="Name181">
                        <dgm:if name="Name182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83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84">
                      <dgm:choose name="Name185">
                        <dgm:if name="Name186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187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188">
                    <dgm:if name="Name189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190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  <dgm:forEach name="Name191" axis="ch" ptType="node" st="5" cnt="1">
                <dgm:layoutNode name="bullet5e" styleLbl="node1">
                  <dgm:alg type="sp"/>
                  <dgm:shape xmlns:r="http://schemas.openxmlformats.org/officeDocument/2006/relationships" type="ellipse" r:blip="">
                    <dgm:adjLst/>
                  </dgm:shape>
                  <dgm:presOf/>
                  <dgm:constrLst/>
                  <dgm:ruleLst/>
                </dgm:layoutNode>
                <dgm:layoutNode name="textBox5e" styleLbl="revTx">
                  <dgm:varLst>
                    <dgm:bulletEnabled val="1"/>
                  </dgm:varLst>
                  <dgm:choose name="Name192">
                    <dgm:if name="Name193" func="var" arg="dir" op="equ" val="norm">
                      <dgm:choose name="Name194">
                        <dgm:if name="Name195" axis="root des" ptType="all node" func="maxDepth" op="gt" val="1">
                          <dgm:alg type="tx">
                            <dgm:param type="txAnchorVert" val="t"/>
                            <dgm:param type="parTxLTRAlign" val="l"/>
                            <dgm:param type="parTxRTLAlign" val="r"/>
                          </dgm:alg>
                        </dgm:if>
                        <dgm:else name="Name196">
                          <dgm:alg type="tx">
                            <dgm:param type="txAnchorVert" val="t"/>
                            <dgm:param type="parTxLTRAlign" val="l"/>
                            <dgm:param type="parTxRTLAlign" val="l"/>
                          </dgm:alg>
                        </dgm:else>
                      </dgm:choose>
                    </dgm:if>
                    <dgm:else name="Name197">
                      <dgm:choose name="Name198">
                        <dgm:if name="Name199" axis="root des" ptType="all node" func="maxDepth" op="gt" val="1">
                          <dgm:alg type="tx">
                            <dgm:param type="txAnchorVert" val="b"/>
                            <dgm:param type="txAnchorVertCh" val="b"/>
                            <dgm:param type="parTxLTRAlign" val="l"/>
                            <dgm:param type="parTxRTLAlign" val="r"/>
                          </dgm:alg>
                        </dgm:if>
                        <dgm:else name="Name200">
                          <dgm:alg type="tx">
                            <dgm:param type="txAnchorVert" val="b"/>
                            <dgm:param type="parTxLTRAlign" val="r"/>
                            <dgm:param type="parTxRTLAlign" val="r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rect" r:blip="">
                    <dgm:adjLst/>
                  </dgm:shape>
                  <dgm:presOf axis="desOrSelf" ptType="node"/>
                  <dgm:choose name="Name201">
                    <dgm:if name="Name202" func="var" arg="dir" op="equ" val="norm">
                      <dgm:constrLst>
                        <dgm:constr type="rMarg"/>
                        <dgm:constr type="tMarg"/>
                        <dgm:constr type="bMarg"/>
                      </dgm:constrLst>
                    </dgm:if>
                    <dgm:else name="Name203">
                      <dgm:constrLst>
                        <dgm:constr type="lMarg"/>
                        <dgm:constr type="tMarg"/>
                        <dgm:constr type="bMarg"/>
                      </dgm:constrLst>
                    </dgm:else>
                  </dgm:choose>
                  <dgm:ruleLst>
                    <dgm:rule type="primFontSz" val="5" fact="NaN" max="NaN"/>
                  </dgm:ruleLst>
                </dgm:layoutNode>
              </dgm:forEach>
            </dgm:layoutNode>
          </dgm:else>
        </dgm:choose>
      </dgm:if>
      <dgm:else name="Name204"/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#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drawing1.xml.rels><?xml version="1.0" encoding="UTF-8" standalone="yes"?>
<Relationships xmlns="http://schemas.openxmlformats.org/package/2006/relationships"><Relationship Id="rId1" Type="http://schemas.openxmlformats.org/officeDocument/2006/relationships/image" Target="../media/image52.png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6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4912</cdr:x>
      <cdr:y>0</cdr:y>
    </cdr:from>
    <cdr:to>
      <cdr:x>0.71172</cdr:x>
      <cdr:y>1</cdr:y>
    </cdr:to>
    <cdr:pic>
      <cdr:nvPicPr>
        <cdr:cNvPr id="21" name="chart"/>
        <cdr:cNvPicPr>
          <a:picLocks xmlns:a="http://schemas.openxmlformats.org/drawingml/2006/main" noChangeAspect="1"/>
        </cdr:cNvPicPr>
      </cdr:nvPicPr>
      <cdr:blipFill>
        <a:blip xmlns:a="http://schemas.openxmlformats.org/drawingml/2006/main" xmlns:r="http://schemas.openxmlformats.org/officeDocument/2006/relationships" r:embed="rId1"/>
        <a:stretch xmlns:a="http://schemas.openxmlformats.org/drawingml/2006/main">
          <a:fillRect/>
        </a:stretch>
      </cdr:blipFill>
      <cdr:spPr>
        <a:xfrm xmlns:a="http://schemas.openxmlformats.org/drawingml/2006/main">
          <a:off x="477835" y="0"/>
          <a:ext cx="1802763" cy="1951980"/>
        </a:xfrm>
        <a:prstGeom xmlns:a="http://schemas.openxmlformats.org/drawingml/2006/main" prst="rect">
          <a:avLst/>
        </a:prstGeom>
      </cdr:spPr>
    </cdr:pic>
  </cdr:relSizeAnchor>
  <cdr:relSizeAnchor xmlns:cdr="http://schemas.openxmlformats.org/drawingml/2006/chartDrawing">
    <cdr:from>
      <cdr:x>0.65367</cdr:x>
      <cdr:y>0.75948</cdr:y>
    </cdr:from>
    <cdr:to>
      <cdr:x>0.88863</cdr:x>
      <cdr:y>0.93292</cdr:y>
    </cdr:to>
    <cdr:sp macro="" textlink="">
      <cdr:nvSpPr>
        <cdr:cNvPr id="22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094606" y="1482494"/>
          <a:ext cx="752898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Торговля 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36,0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</cdr:x>
      <cdr:y>0.09336</cdr:y>
    </cdr:from>
    <cdr:to>
      <cdr:x>0.23497</cdr:x>
      <cdr:y>0.2668</cdr:y>
    </cdr:to>
    <cdr:sp macro="" textlink="">
      <cdr:nvSpPr>
        <cdr:cNvPr id="23" name="TextBox 55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-5750695" y="182240"/>
          <a:ext cx="752929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>
          <a:spAutoFit/>
        </a:bodyPr>
        <a:lstStyle xmlns:a="http://schemas.openxmlformats.org/drawingml/2006/main">
          <a:defPPr>
            <a:defRPr lang="ru-RU"/>
          </a:defPPr>
          <a:lvl1pPr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1pPr>
          <a:lvl2pPr marL="4572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2pPr>
          <a:lvl3pPr marL="9144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3pPr>
          <a:lvl4pPr marL="13716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4pPr>
          <a:lvl5pPr marL="1828800" algn="l" rtl="0" fontAlgn="base">
            <a:spcBef>
              <a:spcPct val="0"/>
            </a:spcBef>
            <a:spcAft>
              <a:spcPct val="0"/>
            </a:spcAft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5pPr>
          <a:lvl6pPr marL="22860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6pPr>
          <a:lvl7pPr marL="27432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7pPr>
          <a:lvl8pPr marL="32004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8pPr>
          <a:lvl9pPr marL="3657600" algn="l" defTabSz="914400" rtl="0" eaLnBrk="1" latinLnBrk="0" hangingPunct="1">
            <a:defRPr kern="1200">
              <a:solidFill>
                <a:schemeClr val="tx1"/>
              </a:solidFill>
              <a:latin typeface="Arial" pitchFamily="34" charset="0"/>
              <a:ea typeface="+mn-ea"/>
              <a:cs typeface="Arial" pitchFamily="34" charset="0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Услуги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18,3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7193</cdr:x>
      <cdr:y>0.44755</cdr:y>
    </cdr:from>
    <cdr:to>
      <cdr:x>0.98047</cdr:x>
      <cdr:y>0.62099</cdr:y>
    </cdr:to>
    <cdr:sp macro="" textlink="">
      <cdr:nvSpPr>
        <cdr:cNvPr id="24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04899" y="873609"/>
          <a:ext cx="836885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Строительство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8,8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71937</cdr:x>
      <cdr:y>0.2161</cdr:y>
    </cdr:from>
    <cdr:to>
      <cdr:x>0.98047</cdr:x>
      <cdr:y>0.38954</cdr:y>
    </cdr:to>
    <cdr:sp macro="" textlink="">
      <cdr:nvSpPr>
        <cdr:cNvPr id="25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305123" y="421815"/>
          <a:ext cx="836661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Производство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6,7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  <cdr:relSizeAnchor xmlns:cdr="http://schemas.openxmlformats.org/drawingml/2006/chartDrawing">
    <cdr:from>
      <cdr:x>0.63203</cdr:x>
      <cdr:y>0.03601</cdr:y>
    </cdr:from>
    <cdr:to>
      <cdr:x>0.91228</cdr:x>
      <cdr:y>0.20945</cdr:y>
    </cdr:to>
    <cdr:sp macro="" textlink="">
      <cdr:nvSpPr>
        <cdr:cNvPr id="26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2025255" y="70291"/>
          <a:ext cx="898024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Другое 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 19,7 %</a:t>
          </a:r>
          <a:endParaRPr lang="ru-RU" altLang="ru-RU" sz="800" dirty="0">
            <a:solidFill>
              <a:srgbClr val="0D0D0D"/>
            </a:solidFill>
            <a:latin typeface="Verdana" pitchFamily="34" charset="0"/>
          </a:endParaRPr>
        </a:p>
      </cdr:txBody>
    </cdr:sp>
  </cdr:relSizeAnchor>
  <cdr:relSizeAnchor xmlns:cdr="http://schemas.openxmlformats.org/drawingml/2006/chartDrawing">
    <cdr:from>
      <cdr:x>0</cdr:x>
      <cdr:y>0.62876</cdr:y>
    </cdr:from>
    <cdr:to>
      <cdr:x>0.23497</cdr:x>
      <cdr:y>0.8022</cdr:y>
    </cdr:to>
    <cdr:sp macro="" textlink="">
      <cdr:nvSpPr>
        <cdr:cNvPr id="27" name="TextBox 66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-5750695" y="1227326"/>
          <a:ext cx="752930" cy="338554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>
          <a:noFill/>
        </a:ln>
        <a:extLst xmlns:a="http://schemas.openxmlformats.org/drawingml/2006/main"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cdr:spPr>
      <cdr:txBody>
        <a:bodyPr xmlns:a="http://schemas.openxmlformats.org/drawingml/2006/main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 eaLnBrk="1" hangingPunct="1"/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Транспорт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– </a:t>
          </a:r>
          <a:r>
            <a:rPr lang="ru-RU" altLang="ru-RU" sz="800" dirty="0" smtClean="0">
              <a:solidFill>
                <a:srgbClr val="0D0D0D"/>
              </a:solidFill>
              <a:latin typeface="Verdana" pitchFamily="34" charset="0"/>
            </a:rPr>
            <a:t>9,9 </a:t>
          </a:r>
          <a:r>
            <a:rPr lang="ru-RU" altLang="ru-RU" sz="800" dirty="0">
              <a:solidFill>
                <a:srgbClr val="0D0D0D"/>
              </a:solidFill>
              <a:latin typeface="Verdana" pitchFamily="34" charset="0"/>
            </a:rPr>
            <a:t>%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ru-RU"/>
          </a:p>
        </p:txBody>
      </p:sp>
      <p:sp>
        <p:nvSpPr>
          <p:cNvPr id="819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0443" y="0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en-US" altLang="ru-RU"/>
          </a:p>
        </p:txBody>
      </p:sp>
      <p:sp>
        <p:nvSpPr>
          <p:cNvPr id="819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17575" y="744538"/>
            <a:ext cx="496252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768" y="4715153"/>
            <a:ext cx="5438140" cy="44669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819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583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l">
              <a:defRPr sz="1200"/>
            </a:lvl1pPr>
          </a:lstStyle>
          <a:p>
            <a:endParaRPr lang="en-US" altLang="ru-RU"/>
          </a:p>
        </p:txBody>
      </p:sp>
      <p:sp>
        <p:nvSpPr>
          <p:cNvPr id="819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0443" y="9428583"/>
            <a:ext cx="2945660" cy="496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705" tIns="45853" rIns="91705" bIns="45853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5942FAC-5E71-47DF-891E-D0859ECC6816}" type="slidenum">
              <a:rPr lang="en-US" altLang="ru-RU"/>
              <a:pPr/>
              <a:t>‹#›</a:t>
            </a:fld>
            <a:endParaRPr lang="en-US" altLang="ru-RU"/>
          </a:p>
        </p:txBody>
      </p:sp>
    </p:spTree>
    <p:extLst>
      <p:ext uri="{BB962C8B-B14F-4D97-AF65-F5344CB8AC3E}">
        <p14:creationId xmlns:p14="http://schemas.microsoft.com/office/powerpoint/2010/main" val="22746601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8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7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/>
              <a:pPr/>
              <a:t>18</a:t>
            </a:fld>
            <a:endParaRPr lang="en-US" altLang="ru-RU"/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9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20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9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0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1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2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3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4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5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EC3FA3BC-8E0E-4BAD-B337-D7AB72F366D9}" type="slidenum">
              <a:rPr lang="en-US" altLang="ru-RU">
                <a:solidFill>
                  <a:prstClr val="black"/>
                </a:solidFill>
              </a:rPr>
              <a:pPr/>
              <a:t>16</a:t>
            </a:fld>
            <a:endParaRPr lang="en-US" altLang="ru-RU">
              <a:solidFill>
                <a:prstClr val="black"/>
              </a:solidFill>
            </a:endParaRPr>
          </a:p>
        </p:txBody>
      </p:sp>
      <p:sp>
        <p:nvSpPr>
          <p:cNvPr id="11059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1059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ru-RU" alt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png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990600" y="5334000"/>
            <a:ext cx="7772400" cy="704850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algn="r"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ru-RU" noProof="0" smtClean="0"/>
              <a:t>Образец заголовка</a:t>
            </a:r>
            <a:endParaRPr lang="en-US" altLang="ru-RU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990600" y="5867400"/>
            <a:ext cx="7772400" cy="533400"/>
          </a:xfrm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/>
          <a:lstStyle>
            <a:lvl1pPr marL="0" indent="0" algn="r">
              <a:buFontTx/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altLang="ru-RU" noProof="0" smtClean="0"/>
              <a:t>Образец подзаголовка</a:t>
            </a:r>
            <a:endParaRPr lang="en-US" altLang="ru-RU" noProof="0" smtClean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01227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400800" y="1417638"/>
            <a:ext cx="1828800" cy="5211762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914400" y="1417638"/>
            <a:ext cx="5334000" cy="5211762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37249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6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7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32290" y="476250"/>
            <a:ext cx="2523392" cy="10731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1256942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34976" y="1509714"/>
            <a:ext cx="8274051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889506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530819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816373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04202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9333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3496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182651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30005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36670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76989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176036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9512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314136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129783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98153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18950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75756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45346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6366542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43784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08040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007032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949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540150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4383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30442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99008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7862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3692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914400" y="2438400"/>
            <a:ext cx="35814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2438400"/>
            <a:ext cx="3581400" cy="4191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52597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55082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2083845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54601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543141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198217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464269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075350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00244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002773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62168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049861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12860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450168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323616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461197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442977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07999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257859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315984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9691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97388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94072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20780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458652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275113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257206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162776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7609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696613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67847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91014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600771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5741081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30.10.2019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55158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6409623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306323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14.xml"/><Relationship Id="rId7" Type="http://schemas.openxmlformats.org/officeDocument/2006/relationships/tags" Target="../tags/tag1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15.xml"/><Relationship Id="rId9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8.xml"/><Relationship Id="rId7" Type="http://schemas.openxmlformats.org/officeDocument/2006/relationships/slideLayout" Target="../slideLayouts/slideLayout22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5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7" Type="http://schemas.openxmlformats.org/officeDocument/2006/relationships/slideLayout" Target="../slideLayouts/slideLayout55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0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58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1417638"/>
            <a:ext cx="7315200" cy="7159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  <a:endParaRPr lang="en-US" altLang="ru-RU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4400" y="2438400"/>
            <a:ext cx="7315200" cy="4191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  <a:p>
            <a:pPr lvl="2"/>
            <a:r>
              <a:rPr lang="ru-RU" altLang="ru-RU" smtClean="0"/>
              <a:t>Третий уровень</a:t>
            </a:r>
          </a:p>
          <a:p>
            <a:pPr lvl="3"/>
            <a:r>
              <a:rPr lang="ru-RU" altLang="ru-RU" smtClean="0"/>
              <a:t>Четвертый уровень</a:t>
            </a:r>
          </a:p>
          <a:p>
            <a:pPr lvl="4"/>
            <a:r>
              <a:rPr lang="ru-RU" altLang="ru-RU" smtClean="0"/>
              <a:t>Пятый уровень</a:t>
            </a:r>
            <a:endParaRPr lang="en-US" altLang="ru-RU" smtClean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Microsoft Sans Serif" pitchFamily="34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52" name="think-cell Slide" r:id="rId8" imgW="360" imgH="360" progId="TCLayout.ActiveDocument.1">
                  <p:embed/>
                </p:oleObj>
              </mc:Choice>
              <mc:Fallback>
                <p:oleObj name="think-cell Slide" r:id="rId8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34975" y="163513"/>
            <a:ext cx="8274050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4975" y="1509714"/>
            <a:ext cx="8274050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568876" y="6610226"/>
            <a:ext cx="176212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 fontAlgn="auto">
              <a:spcAft>
                <a:spcPts val="0"/>
              </a:spcAft>
            </a:pPr>
            <a:fld id="{0AAE6F06-DF1F-4AFE-8A52-B806E3E9D437}" type="slidenum">
              <a:rPr lang="en-GB" sz="900">
                <a:solidFill>
                  <a:srgbClr val="000000"/>
                </a:solidFill>
                <a:latin typeface="Arial"/>
              </a:rPr>
              <a:pPr algn="r" defTabSz="889000" fontAlgn="auto">
                <a:spcAft>
                  <a:spcPts val="0"/>
                </a:spcAft>
              </a:pPr>
              <a:t>‹#›</a:t>
            </a:fld>
            <a:endParaRPr lang="en-GB" sz="9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8" name="Rectangle 122"/>
          <p:cNvSpPr>
            <a:spLocks noChangeArrowheads="1"/>
          </p:cNvSpPr>
          <p:nvPr/>
        </p:nvSpPr>
        <p:spPr bwMode="auto">
          <a:xfrm>
            <a:off x="434975" y="989013"/>
            <a:ext cx="8274050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en-GB" sz="1800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365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0.10.2019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61711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0.10.2019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055634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0.10.2019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341775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0.10.2019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7500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  <p:sldLayoutId id="2147483721" r:id="rId8"/>
    <p:sldLayoutId id="2147483722" r:id="rId9"/>
    <p:sldLayoutId id="2147483723" r:id="rId10"/>
    <p:sldLayoutId id="2147483724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4C71EC6-210F-42DE-9C53-41977AD35B3D}" type="datetimeFigureOut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30.10.2019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auto">
              <a:spcBef>
                <a:spcPts val="0"/>
              </a:spcBef>
              <a:spcAft>
                <a:spcPts val="0"/>
              </a:spcAft>
            </a:pPr>
            <a:fld id="{B19B0651-EE4F-4900-A07F-96A6BFA9D0F0}" type="slidenum">
              <a:rPr lang="ru-RU" smtClean="0">
                <a:solidFill>
                  <a:prstClr val="black">
                    <a:tint val="75000"/>
                  </a:prstClr>
                </a:solidFill>
                <a:latin typeface="Calibri"/>
              </a:rPr>
              <a:pPr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ru-RU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378502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8.wmf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53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Microsoft_Excel_97-2003_Worksheet2.xls"/><Relationship Id="rId5" Type="http://schemas.openxmlformats.org/officeDocument/2006/relationships/oleObject" Target="../embeddings/oleObject4.bin"/><Relationship Id="rId4" Type="http://schemas.openxmlformats.org/officeDocument/2006/relationships/image" Target="../media/image47.jpeg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3.xml"/><Relationship Id="rId3" Type="http://schemas.openxmlformats.org/officeDocument/2006/relationships/image" Target="../media/image47.jpeg"/><Relationship Id="rId7" Type="http://schemas.openxmlformats.org/officeDocument/2006/relationships/diagramColors" Target="../diagrams/colors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diagramQuickStyle" Target="../diagrams/quickStyle3.xml"/><Relationship Id="rId5" Type="http://schemas.openxmlformats.org/officeDocument/2006/relationships/diagramLayout" Target="../diagrams/layout3.xml"/><Relationship Id="rId4" Type="http://schemas.openxmlformats.org/officeDocument/2006/relationships/diagramData" Target="../diagrams/data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4.xml"/><Relationship Id="rId3" Type="http://schemas.openxmlformats.org/officeDocument/2006/relationships/image" Target="../media/image47.jpeg"/><Relationship Id="rId7" Type="http://schemas.openxmlformats.org/officeDocument/2006/relationships/diagramColors" Target="../diagrams/colors4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4.xml"/><Relationship Id="rId5" Type="http://schemas.openxmlformats.org/officeDocument/2006/relationships/diagramLayout" Target="../diagrams/layout4.xml"/><Relationship Id="rId4" Type="http://schemas.openxmlformats.org/officeDocument/2006/relationships/diagramData" Target="../diagrams/data4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jpeg"/><Relationship Id="rId3" Type="http://schemas.openxmlformats.org/officeDocument/2006/relationships/image" Target="../media/image47.jpeg"/><Relationship Id="rId7" Type="http://schemas.openxmlformats.org/officeDocument/2006/relationships/image" Target="../media/image5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56.png"/><Relationship Id="rId5" Type="http://schemas.openxmlformats.org/officeDocument/2006/relationships/image" Target="../media/image55.jpeg"/><Relationship Id="rId10" Type="http://schemas.openxmlformats.org/officeDocument/2006/relationships/image" Target="../media/image60.jpeg"/><Relationship Id="rId4" Type="http://schemas.openxmlformats.org/officeDocument/2006/relationships/image" Target="../media/image54.jpeg"/><Relationship Id="rId9" Type="http://schemas.openxmlformats.org/officeDocument/2006/relationships/image" Target="../media/image5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63.png"/><Relationship Id="rId4" Type="http://schemas.openxmlformats.org/officeDocument/2006/relationships/image" Target="../media/image62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64.emf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Microsoft_Excel_97-2003_Worksheet3.xls"/><Relationship Id="rId5" Type="http://schemas.openxmlformats.org/officeDocument/2006/relationships/oleObject" Target="../embeddings/oleObject5.bin"/><Relationship Id="rId4" Type="http://schemas.openxmlformats.org/officeDocument/2006/relationships/image" Target="../media/image47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66.png"/><Relationship Id="rId4" Type="http://schemas.openxmlformats.org/officeDocument/2006/relationships/image" Target="../media/image6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8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5.pn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17.png"/><Relationship Id="rId7" Type="http://schemas.openxmlformats.org/officeDocument/2006/relationships/image" Target="../media/image21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0.xml"/><Relationship Id="rId6" Type="http://schemas.openxmlformats.org/officeDocument/2006/relationships/image" Target="../media/image20.png"/><Relationship Id="rId11" Type="http://schemas.openxmlformats.org/officeDocument/2006/relationships/image" Target="../media/image25.png"/><Relationship Id="rId5" Type="http://schemas.openxmlformats.org/officeDocument/2006/relationships/image" Target="../media/image19.pn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7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png"/><Relationship Id="rId2" Type="http://schemas.openxmlformats.org/officeDocument/2006/relationships/image" Target="../media/image26.png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61.xml"/><Relationship Id="rId6" Type="http://schemas.openxmlformats.org/officeDocument/2006/relationships/image" Target="../media/image30.pn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6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Layout" Target="../slideLayouts/slideLayout61.xml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13" Type="http://schemas.openxmlformats.org/officeDocument/2006/relationships/diagramQuickStyle" Target="../diagrams/quickStyle2.xml"/><Relationship Id="rId18" Type="http://schemas.openxmlformats.org/officeDocument/2006/relationships/image" Target="../media/image46.png"/><Relationship Id="rId3" Type="http://schemas.openxmlformats.org/officeDocument/2006/relationships/notesSlide" Target="../notesSlides/notesSlide1.xml"/><Relationship Id="rId21" Type="http://schemas.openxmlformats.org/officeDocument/2006/relationships/image" Target="../media/image51.jpeg"/><Relationship Id="rId7" Type="http://schemas.openxmlformats.org/officeDocument/2006/relationships/diagramQuickStyle" Target="../diagrams/quickStyle1.xml"/><Relationship Id="rId12" Type="http://schemas.openxmlformats.org/officeDocument/2006/relationships/diagramLayout" Target="../diagrams/layout2.xml"/><Relationship Id="rId17" Type="http://schemas.openxmlformats.org/officeDocument/2006/relationships/oleObject" Target="../embeddings/Microsoft_Excel_97-2003_Worksheet1.xls"/><Relationship Id="rId2" Type="http://schemas.openxmlformats.org/officeDocument/2006/relationships/slideLayout" Target="../slideLayouts/slideLayout8.xml"/><Relationship Id="rId16" Type="http://schemas.openxmlformats.org/officeDocument/2006/relationships/oleObject" Target="../embeddings/oleObject3.bin"/><Relationship Id="rId20" Type="http://schemas.openxmlformats.org/officeDocument/2006/relationships/image" Target="../media/image50.jpeg"/><Relationship Id="rId1" Type="http://schemas.openxmlformats.org/officeDocument/2006/relationships/vmlDrawing" Target="../drawings/vmlDrawing3.vml"/><Relationship Id="rId6" Type="http://schemas.openxmlformats.org/officeDocument/2006/relationships/diagramLayout" Target="../diagrams/layout1.xml"/><Relationship Id="rId11" Type="http://schemas.openxmlformats.org/officeDocument/2006/relationships/diagramData" Target="../diagrams/data2.xml"/><Relationship Id="rId5" Type="http://schemas.openxmlformats.org/officeDocument/2006/relationships/diagramData" Target="../diagrams/data1.xml"/><Relationship Id="rId15" Type="http://schemas.microsoft.com/office/2007/relationships/diagramDrawing" Target="../diagrams/drawing2.xml"/><Relationship Id="rId10" Type="http://schemas.openxmlformats.org/officeDocument/2006/relationships/image" Target="../media/image48.png"/><Relationship Id="rId19" Type="http://schemas.openxmlformats.org/officeDocument/2006/relationships/image" Target="../media/image49.jpeg"/><Relationship Id="rId4" Type="http://schemas.openxmlformats.org/officeDocument/2006/relationships/image" Target="../media/image47.jpeg"/><Relationship Id="rId9" Type="http://schemas.microsoft.com/office/2007/relationships/diagramDrawing" Target="../diagrams/drawing1.xml"/><Relationship Id="rId14" Type="http://schemas.openxmlformats.org/officeDocument/2006/relationships/diagramColors" Target="../diagrams/colors2.xml"/><Relationship Id="rId22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C:\Users\pkarpova\Documents\Карпова\БУКЛЕТ ОПОРЫ\Дизайнерские элементы из буклета\elements-1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75966" y="4335933"/>
            <a:ext cx="1721201" cy="21212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9" name="Picture 5" descr="C:\Users\pkarpova\Documents\Карпова\БУКЛЕТ ОПОРЫ\Дизайнерские элементы из буклета\png-15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3570" y="285121"/>
            <a:ext cx="6875095" cy="65728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-10641" y="2635457"/>
            <a:ext cx="5323482" cy="1872208"/>
          </a:xfrm>
        </p:spPr>
        <p:txBody>
          <a:bodyPr>
            <a:normAutofit/>
          </a:bodyPr>
          <a:lstStyle/>
          <a:p>
            <a:r>
              <a:rPr lang="ru-RU" sz="2400" b="1" dirty="0">
                <a:solidFill>
                  <a:schemeClr val="tx2">
                    <a:lumMod val="75000"/>
                  </a:schemeClr>
                </a:solidFill>
              </a:rPr>
              <a:t>Дискуссионная площадка:</a:t>
            </a:r>
            <a:br>
              <a:rPr lang="ru-RU" sz="2400" b="1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2400" b="1" dirty="0">
                <a:solidFill>
                  <a:schemeClr val="tx2">
                    <a:lumMod val="75000"/>
                  </a:schemeClr>
                </a:solidFill>
              </a:rPr>
              <a:t>Малый и средний бизнес в России: кто «ЗА» и кто «ПРОТИВ»?</a:t>
            </a:r>
          </a:p>
        </p:txBody>
      </p:sp>
      <p:pic>
        <p:nvPicPr>
          <p:cNvPr id="1030" name="Picture 6" descr="C:\Users\pkarpova\Documents\Карпова\БУКЛЕТ ОПОРЫ\Дизайнерские элементы из буклета\elements-14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23928" y="284491"/>
            <a:ext cx="5754687" cy="654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C:\Users\pkarpova\Documents\Карпова\БУКЛЕТ ОПОРЫ\Дизайнерские элементы из буклета\png-52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10" y="6098004"/>
            <a:ext cx="2304256" cy="7599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Рисунок 1" descr="BLANK1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623" y="1124744"/>
            <a:ext cx="5966810" cy="1152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5213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937159" y="281613"/>
            <a:ext cx="6934200" cy="715963"/>
          </a:xfrm>
        </p:spPr>
        <p:txBody>
          <a:bodyPr/>
          <a:lstStyle/>
          <a:p>
            <a:r>
              <a:rPr lang="ru-RU" altLang="ru-RU" sz="3400" dirty="0" err="1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сп</a:t>
            </a:r>
            <a:r>
              <a:rPr lang="ru-RU" altLang="ru-RU" sz="34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 в </a:t>
            </a:r>
            <a:r>
              <a:rPr lang="ru-RU" altLang="ru-RU" sz="3400" dirty="0" err="1" smtClean="0">
                <a:solidFill>
                  <a:srgbClr val="7030A0"/>
                </a:solidFill>
                <a:latin typeface="a_MonumentoTitul" panose="02060906030706050204" pitchFamily="18" charset="-52"/>
              </a:rPr>
              <a:t>россии</a:t>
            </a:r>
            <a:endParaRPr lang="en-US" altLang="ru-RU" sz="34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978444" y="1480455"/>
            <a:ext cx="6934200" cy="4267200"/>
          </a:xfrm>
        </p:spPr>
        <p:txBody>
          <a:bodyPr/>
          <a:lstStyle/>
          <a:p>
            <a:pPr marL="0" indent="0">
              <a:lnSpc>
                <a:spcPct val="80000"/>
              </a:lnSpc>
              <a:buNone/>
            </a:pPr>
            <a:endParaRPr lang="en-US" altLang="ru-RU" sz="1800" dirty="0">
              <a:solidFill>
                <a:srgbClr val="4D4D4D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959793" y="5783845"/>
            <a:ext cx="697548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В 2019 г. число субъектов МСП сократилось на 85 тыс. Занятость сократилась на 600 тыс. Основная причина – </a:t>
            </a:r>
            <a:r>
              <a:rPr lang="ru-RU" sz="1800" b="1" dirty="0" err="1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несдача</a:t>
            </a:r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 налоговой отчетност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5652121" y="5403500"/>
            <a:ext cx="28803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aphicFrame>
        <p:nvGraphicFramePr>
          <p:cNvPr id="2" name="Объект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4752665"/>
              </p:ext>
            </p:extLst>
          </p:nvPr>
        </p:nvGraphicFramePr>
        <p:xfrm>
          <a:off x="1835696" y="908720"/>
          <a:ext cx="7308304" cy="41433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4" name="Лист" r:id="rId6" imgW="9001233" imgH="4886325" progId="Excel.Sheet.8">
                  <p:embed/>
                </p:oleObj>
              </mc:Choice>
              <mc:Fallback>
                <p:oleObj name="Лист" r:id="rId6" imgW="9001233" imgH="4886325" progId="Excel.Sheet.8">
                  <p:embed/>
                  <p:pic>
                    <p:nvPicPr>
                      <p:cNvPr id="0" name="Object 5"/>
                      <p:cNvPicPr>
                        <a:picLocks noChangeArrowheads="1"/>
                      </p:cNvPicPr>
                      <p:nvPr/>
                    </p:nvPicPr>
                    <p:blipFill>
                      <a:blip r:embed="rId7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5696" y="908720"/>
                        <a:ext cx="7308304" cy="41433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1959793" y="5080334"/>
            <a:ext cx="6975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С 2016 г. действует Единый реестр субъектов МСП </a:t>
            </a:r>
          </a:p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Его ведет ФНС России</a:t>
            </a:r>
          </a:p>
        </p:txBody>
      </p:sp>
    </p:spTree>
    <p:extLst>
      <p:ext uri="{BB962C8B-B14F-4D97-AF65-F5344CB8AC3E}">
        <p14:creationId xmlns:p14="http://schemas.microsoft.com/office/powerpoint/2010/main" val="33503392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6739" y="548680"/>
            <a:ext cx="7315200" cy="715962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Системы налогообложения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16" name="Объект 1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07634779"/>
              </p:ext>
            </p:extLst>
          </p:nvPr>
        </p:nvGraphicFramePr>
        <p:xfrm>
          <a:off x="1835696" y="1772816"/>
          <a:ext cx="6393904" cy="485658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155277" y="1237402"/>
            <a:ext cx="328315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Отменяется с 2021 г.</a:t>
            </a:r>
          </a:p>
        </p:txBody>
      </p:sp>
      <p:grpSp>
        <p:nvGrpSpPr>
          <p:cNvPr id="13" name="Группа 12"/>
          <p:cNvGrpSpPr/>
          <p:nvPr/>
        </p:nvGrpSpPr>
        <p:grpSpPr>
          <a:xfrm rot="10050328">
            <a:off x="4198603" y="1583874"/>
            <a:ext cx="1545624" cy="45719"/>
            <a:chOff x="0" y="41693"/>
            <a:chExt cx="3062660" cy="114139"/>
          </a:xfrm>
        </p:grpSpPr>
        <p:sp>
          <p:nvSpPr>
            <p:cNvPr id="14" name="Нашивка 13"/>
            <p:cNvSpPr/>
            <p:nvPr/>
          </p:nvSpPr>
          <p:spPr>
            <a:xfrm flipV="1">
              <a:off x="0" y="41693"/>
              <a:ext cx="3062660" cy="114139"/>
            </a:xfrm>
            <a:prstGeom prst="chevron">
              <a:avLst/>
            </a:prstGeom>
            <a:solidFill>
              <a:srgbClr val="76B531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5" name="Нашивка 4"/>
            <p:cNvSpPr/>
            <p:nvPr/>
          </p:nvSpPr>
          <p:spPr>
            <a:xfrm rot="10800000">
              <a:off x="57070" y="41693"/>
              <a:ext cx="2948521" cy="1141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10160" tIns="5080" rIns="0" bIns="5080" numCol="1" spcCol="1270" anchor="ctr" anchorCtr="0">
              <a:noAutofit/>
            </a:bodyPr>
            <a:lstStyle/>
            <a:p>
              <a:pPr lvl="0" algn="ctr" defTabSz="35560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800" b="1" kern="1200" dirty="0">
                <a:solidFill>
                  <a:schemeClr val="accen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9885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6739" y="548680"/>
            <a:ext cx="7315200" cy="715962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Причины непопулярности патентной системы налогообложения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0" name="TextBox 36"/>
          <p:cNvSpPr txBox="1">
            <a:spLocks noChangeArrowheads="1"/>
          </p:cNvSpPr>
          <p:nvPr/>
        </p:nvSpPr>
        <p:spPr bwMode="auto">
          <a:xfrm>
            <a:off x="4799805" y="1916832"/>
            <a:ext cx="4294063" cy="5693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indent="0" algn="l" eaLnBrk="1" hangingPunct="1">
              <a:lnSpc>
                <a:spcPct val="100000"/>
              </a:lnSpc>
              <a:spcBef>
                <a:spcPct val="0"/>
              </a:spcBef>
              <a:buFont typeface="Arial" pitchFamily="34" charset="0"/>
              <a:buNone/>
              <a:defRPr/>
            </a:pPr>
            <a:r>
              <a:rPr kumimoji="1" lang="ru-RU" altLang="ru-RU" sz="1550" b="1" dirty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Только индивидуальные предприниматели с численностью работников до 15 человек</a:t>
            </a:r>
            <a:endParaRPr kumimoji="1" lang="ru-RU" altLang="ru-RU" sz="1550" b="1" dirty="0" smtClean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</p:txBody>
      </p:sp>
      <p:sp>
        <p:nvSpPr>
          <p:cNvPr id="22" name="Rectangle 14"/>
          <p:cNvSpPr>
            <a:spLocks noChangeArrowheads="1"/>
          </p:cNvSpPr>
          <p:nvPr/>
        </p:nvSpPr>
        <p:spPr bwMode="auto">
          <a:xfrm>
            <a:off x="1887612" y="1628800"/>
            <a:ext cx="2768178" cy="1152128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Ограничение круга предпринимателей, имеющих право применять патентную систему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1813830" y="3306337"/>
            <a:ext cx="2797783" cy="88777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Ограничения по видам деятельности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1841289" y="4938692"/>
            <a:ext cx="2797783" cy="649957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Экономически неэффективная модель уплаты страховых взносов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5" name="TextBox 36"/>
          <p:cNvSpPr txBox="1">
            <a:spLocks noChangeArrowheads="1"/>
          </p:cNvSpPr>
          <p:nvPr/>
        </p:nvSpPr>
        <p:spPr bwMode="auto">
          <a:xfrm>
            <a:off x="4788023" y="4786618"/>
            <a:ext cx="4232152" cy="95410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Патент можно купить на месяц, а взносы все равно платить за год</a:t>
            </a:r>
            <a:endParaRPr kumimoji="1" lang="ru-RU" altLang="ru-RU" sz="1400" b="1" dirty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  <a:p>
            <a:pPr algn="l" eaLnBrk="1" hangingPunct="1">
              <a:lnSpc>
                <a:spcPct val="100000"/>
              </a:lnSpc>
              <a:spcBef>
                <a:spcPct val="0"/>
              </a:spcBef>
              <a:defRPr/>
            </a:pPr>
            <a:r>
              <a:rPr kumimoji="1" lang="ru-RU" altLang="ru-RU" sz="140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Нельзя «вычесть» страховые взносы из суммы налога (в других налоговых режимах можно)</a:t>
            </a:r>
            <a:endParaRPr kumimoji="1" lang="ru-RU" altLang="ru-RU" sz="1400" b="1" dirty="0">
              <a:solidFill>
                <a:prstClr val="black">
                  <a:lumMod val="95000"/>
                  <a:lumOff val="5000"/>
                </a:prstClr>
              </a:solidFill>
              <a:latin typeface="Calibri"/>
              <a:cs typeface="Arial" pitchFamily="34" charset="0"/>
            </a:endParaRPr>
          </a:p>
        </p:txBody>
      </p:sp>
      <p:sp>
        <p:nvSpPr>
          <p:cNvPr id="11" name="TextBox 36"/>
          <p:cNvSpPr txBox="1">
            <a:spLocks noChangeArrowheads="1"/>
          </p:cNvSpPr>
          <p:nvPr/>
        </p:nvSpPr>
        <p:spPr bwMode="auto">
          <a:xfrm>
            <a:off x="4755628" y="3465528"/>
            <a:ext cx="4294063" cy="33086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square">
            <a:spAutoFit/>
          </a:bodyPr>
          <a:lstStyle>
            <a:lvl1pPr marL="285750" indent="-285750"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marL="0" indent="0" algn="l" eaLnBrk="1" hangingPunct="1">
              <a:lnSpc>
                <a:spcPct val="100000"/>
              </a:lnSpc>
              <a:spcBef>
                <a:spcPct val="0"/>
              </a:spcBef>
              <a:buFont typeface="Arial" pitchFamily="34" charset="0"/>
              <a:buNone/>
              <a:defRPr/>
            </a:pPr>
            <a:r>
              <a:rPr kumimoji="1" lang="ru-RU" altLang="ru-RU" sz="1550" b="1" dirty="0" smtClean="0">
                <a:solidFill>
                  <a:prstClr val="black">
                    <a:lumMod val="95000"/>
                    <a:lumOff val="5000"/>
                  </a:prstClr>
                </a:solidFill>
                <a:latin typeface="Calibri"/>
                <a:cs typeface="Arial" pitchFamily="34" charset="0"/>
              </a:rPr>
              <a:t>64 вида деятельности (в основном услуги)</a:t>
            </a:r>
          </a:p>
        </p:txBody>
      </p:sp>
    </p:spTree>
    <p:extLst>
      <p:ext uri="{BB962C8B-B14F-4D97-AF65-F5344CB8AC3E}">
        <p14:creationId xmlns:p14="http://schemas.microsoft.com/office/powerpoint/2010/main" val="20385837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9693" y="-99392"/>
            <a:ext cx="6923112" cy="1143000"/>
          </a:xfrm>
        </p:spPr>
        <p:txBody>
          <a:bodyPr/>
          <a:lstStyle/>
          <a:p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национальный проект </a:t>
            </a:r>
            <a:r>
              <a:rPr lang="ru-RU" altLang="ru-RU" sz="20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(утвержден Президиумом Совета при Президенте РФ по стратегическому развитию и приоритетным проектам)</a:t>
            </a:r>
            <a:endParaRPr lang="en-US" altLang="ru-RU" sz="20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" name="Текст 1"/>
          <p:cNvSpPr>
            <a:spLocks noGrp="1"/>
          </p:cNvSpPr>
          <p:nvPr>
            <p:ph type="body" idx="1"/>
          </p:nvPr>
        </p:nvSpPr>
        <p:spPr>
          <a:xfrm>
            <a:off x="1802347" y="1052736"/>
            <a:ext cx="3384376" cy="351730"/>
          </a:xfrm>
        </p:spPr>
        <p:txBody>
          <a:bodyPr/>
          <a:lstStyle/>
          <a:p>
            <a:r>
              <a:rPr lang="ru-RU" sz="1400" dirty="0" smtClean="0">
                <a:solidFill>
                  <a:schemeClr val="bg2"/>
                </a:solidFill>
              </a:rPr>
              <a:t>Целевые показатели до 2024 г.</a:t>
            </a:r>
            <a:endParaRPr lang="ru-RU" sz="1400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482323168"/>
              </p:ext>
            </p:extLst>
          </p:nvPr>
        </p:nvGraphicFramePr>
        <p:xfrm>
          <a:off x="1788572" y="1412776"/>
          <a:ext cx="6984776" cy="29103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Box 11"/>
          <p:cNvSpPr txBox="1"/>
          <p:nvPr/>
        </p:nvSpPr>
        <p:spPr>
          <a:xfrm>
            <a:off x="1814154" y="2444442"/>
            <a:ext cx="65502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800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Основные направления:</a:t>
            </a:r>
          </a:p>
        </p:txBody>
      </p:sp>
      <p:grpSp>
        <p:nvGrpSpPr>
          <p:cNvPr id="14" name="Группа 13"/>
          <p:cNvGrpSpPr/>
          <p:nvPr/>
        </p:nvGrpSpPr>
        <p:grpSpPr>
          <a:xfrm>
            <a:off x="1909311" y="2877323"/>
            <a:ext cx="3179972" cy="415991"/>
            <a:chOff x="661381" y="831983"/>
            <a:chExt cx="2679932" cy="415991"/>
          </a:xfrm>
        </p:grpSpPr>
        <p:sp>
          <p:nvSpPr>
            <p:cNvPr id="15" name="Прямоугольник 14"/>
            <p:cNvSpPr/>
            <p:nvPr/>
          </p:nvSpPr>
          <p:spPr>
            <a:xfrm>
              <a:off x="661381" y="831983"/>
              <a:ext cx="2679932" cy="415991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6" name="Прямоугольник 15"/>
            <p:cNvSpPr/>
            <p:nvPr/>
          </p:nvSpPr>
          <p:spPr>
            <a:xfrm>
              <a:off x="661381" y="831983"/>
              <a:ext cx="2679932" cy="415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lvl="0" algn="l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100" dirty="0"/>
                <a:t>Улучшение условий ведения</a:t>
              </a:r>
            </a:p>
            <a:p>
              <a:pPr lvl="0" algn="l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100" dirty="0" smtClean="0"/>
                <a:t>предпринимательской </a:t>
              </a:r>
              <a:r>
                <a:rPr lang="ru-RU" sz="1100" dirty="0"/>
                <a:t>деятельности</a:t>
              </a:r>
              <a:endParaRPr lang="ru-RU" sz="1100" kern="1200" dirty="0"/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1919605" y="3549456"/>
            <a:ext cx="3169678" cy="648072"/>
            <a:chOff x="661381" y="831983"/>
            <a:chExt cx="2679932" cy="415991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661381" y="831983"/>
              <a:ext cx="2679932" cy="415991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0" name="Прямоугольник 19"/>
            <p:cNvSpPr/>
            <p:nvPr/>
          </p:nvSpPr>
          <p:spPr>
            <a:xfrm>
              <a:off x="661381" y="831983"/>
              <a:ext cx="2679932" cy="415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lvl="0" algn="l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100" dirty="0"/>
                <a:t>Расширение доступа субъектов МСП к финансовым ресурсам, в том числе к льготному финансированию</a:t>
              </a:r>
              <a:endParaRPr lang="ru-RU" sz="1100" kern="1200" dirty="0"/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5509524" y="2877323"/>
            <a:ext cx="2679932" cy="415991"/>
            <a:chOff x="661381" y="831983"/>
            <a:chExt cx="2679932" cy="415991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661381" y="831983"/>
              <a:ext cx="2679932" cy="415991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Прямоугольник 22"/>
            <p:cNvSpPr/>
            <p:nvPr/>
          </p:nvSpPr>
          <p:spPr>
            <a:xfrm>
              <a:off x="661381" y="831983"/>
              <a:ext cx="2679932" cy="415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lvl="0" algn="l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100" dirty="0"/>
                <a:t>Акселерация субъектов малого и среднего предпринимательства</a:t>
              </a:r>
              <a:endParaRPr lang="ru-RU" sz="1100" kern="1200" dirty="0"/>
            </a:p>
          </p:txBody>
        </p:sp>
      </p:grpSp>
      <p:grpSp>
        <p:nvGrpSpPr>
          <p:cNvPr id="24" name="Группа 23"/>
          <p:cNvGrpSpPr/>
          <p:nvPr/>
        </p:nvGrpSpPr>
        <p:grpSpPr>
          <a:xfrm>
            <a:off x="5544095" y="3549456"/>
            <a:ext cx="2679932" cy="648072"/>
            <a:chOff x="661381" y="831983"/>
            <a:chExt cx="2679932" cy="648072"/>
          </a:xfrm>
        </p:grpSpPr>
        <p:sp>
          <p:nvSpPr>
            <p:cNvPr id="25" name="Прямоугольник 24"/>
            <p:cNvSpPr/>
            <p:nvPr/>
          </p:nvSpPr>
          <p:spPr>
            <a:xfrm>
              <a:off x="661381" y="831983"/>
              <a:ext cx="2679932" cy="576064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Прямоугольник 25"/>
            <p:cNvSpPr/>
            <p:nvPr/>
          </p:nvSpPr>
          <p:spPr>
            <a:xfrm>
              <a:off x="661381" y="831983"/>
              <a:ext cx="2679932" cy="648072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lvl="0" algn="l" defTabSz="488950">
                <a:lnSpc>
                  <a:spcPct val="90000"/>
                </a:lnSpc>
                <a:spcAft>
                  <a:spcPct val="35000"/>
                </a:spcAft>
              </a:pPr>
              <a:r>
                <a:rPr lang="ru-RU" sz="1100" dirty="0"/>
                <a:t>Создание системы поддержки фермеров и развитие сельской кооперации</a:t>
              </a:r>
              <a:endParaRPr lang="ru-RU" sz="1100" kern="1200" dirty="0"/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3305461" y="4341544"/>
            <a:ext cx="3811491" cy="415991"/>
            <a:chOff x="661380" y="2703313"/>
            <a:chExt cx="3811491" cy="415991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661381" y="2703313"/>
              <a:ext cx="3811490" cy="415991"/>
            </a:xfrm>
            <a:prstGeom prst="rect">
              <a:avLst/>
            </a:prstGeom>
            <a:solidFill>
              <a:srgbClr val="35B19D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3" name="Прямоугольник 32"/>
            <p:cNvSpPr/>
            <p:nvPr/>
          </p:nvSpPr>
          <p:spPr>
            <a:xfrm>
              <a:off x="661380" y="2703313"/>
              <a:ext cx="3811491" cy="415991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30193" tIns="27940" rIns="27940" bIns="27940" numCol="1" spcCol="1270" anchor="ctr" anchorCtr="0">
              <a:noAutofit/>
            </a:bodyPr>
            <a:lstStyle/>
            <a:p>
              <a:pPr lvl="0" algn="l" defTabSz="4889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/>
                <a:t>Популяризация предпринимательства – </a:t>
              </a:r>
            </a:p>
            <a:p>
              <a:pPr lvl="0" algn="l" defTabSz="488950" rtl="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100" kern="1200" dirty="0" smtClean="0"/>
                <a:t>оператор проекта «ОПОРА РОССИИ»</a:t>
              </a:r>
              <a:endParaRPr lang="ru-RU" sz="1100" kern="1200" dirty="0"/>
            </a:p>
          </p:txBody>
        </p:sp>
      </p:grpSp>
      <p:sp>
        <p:nvSpPr>
          <p:cNvPr id="27" name="TextBox 26"/>
          <p:cNvSpPr txBox="1"/>
          <p:nvPr/>
        </p:nvSpPr>
        <p:spPr>
          <a:xfrm>
            <a:off x="1936076" y="5013176"/>
            <a:ext cx="655025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ru-RU" sz="1800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Предварительные результаты:</a:t>
            </a:r>
          </a:p>
          <a:p>
            <a:pPr algn="l"/>
            <a:r>
              <a:rPr lang="ru-RU" sz="1800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сокращение числа МСП на </a:t>
            </a:r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85</a:t>
            </a:r>
            <a:r>
              <a:rPr lang="ru-RU" sz="1800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 тыс.</a:t>
            </a:r>
          </a:p>
          <a:p>
            <a:pPr algn="l"/>
            <a:r>
              <a:rPr lang="ru-RU" sz="1800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сокращение занятости на </a:t>
            </a:r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600 </a:t>
            </a:r>
            <a:r>
              <a:rPr lang="ru-RU" sz="1800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тыс.</a:t>
            </a:r>
          </a:p>
        </p:txBody>
      </p:sp>
    </p:spTree>
    <p:extLst>
      <p:ext uri="{BB962C8B-B14F-4D97-AF65-F5344CB8AC3E}">
        <p14:creationId xmlns:p14="http://schemas.microsoft.com/office/powerpoint/2010/main" val="3681838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20181" y="-36595"/>
            <a:ext cx="7323819" cy="1143000"/>
          </a:xfrm>
        </p:spPr>
        <p:txBody>
          <a:bodyPr/>
          <a:lstStyle/>
          <a:p>
            <a:pPr>
              <a:lnSpc>
                <a:spcPts val="2200"/>
              </a:lnSpc>
            </a:pPr>
            <a:r>
              <a:rPr lang="ru-RU" altLang="ru-RU" sz="28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кто «ЗА»</a:t>
            </a:r>
            <a:endParaRPr lang="en-US" altLang="ru-RU" sz="2800" dirty="0">
              <a:solidFill>
                <a:srgbClr val="7030A0"/>
              </a:solidFill>
              <a:latin typeface="Amelia_DG" pitchFamily="2" charset="0"/>
            </a:endParaRPr>
          </a:p>
        </p:txBody>
      </p:sp>
      <p:pic>
        <p:nvPicPr>
          <p:cNvPr id="12293" name="Picture 5" descr="ÐÐ°ÑÑÐ¸Ð½ÐºÐ¸ Ð¿Ð¾ Ð·Ð°Ð¿ÑÐ¾ÑÑ Ð¿ÑÑÐ¸Ð½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5353" y="739588"/>
            <a:ext cx="532285" cy="7451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Скругленная прямоугольная выноска 21"/>
          <p:cNvSpPr/>
          <p:nvPr/>
        </p:nvSpPr>
        <p:spPr>
          <a:xfrm>
            <a:off x="3275855" y="692697"/>
            <a:ext cx="5835871" cy="792088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23" name="TextBox 14"/>
          <p:cNvSpPr txBox="1">
            <a:spLocks noChangeArrowheads="1"/>
          </p:cNvSpPr>
          <p:nvPr/>
        </p:nvSpPr>
        <p:spPr bwMode="auto">
          <a:xfrm>
            <a:off x="3462933" y="736602"/>
            <a:ext cx="5384342" cy="769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dirty="0">
                <a:solidFill>
                  <a:prstClr val="black"/>
                </a:solidFill>
                <a:latin typeface="Georgia"/>
              </a:rPr>
              <a:t>К середине следующего десятилетия вклад малого предпринимательства в ВВП страны должен приблизиться к 40 %, </a:t>
            </a:r>
            <a:r>
              <a:rPr lang="ru-RU" sz="1100" b="1" dirty="0" smtClean="0">
                <a:solidFill>
                  <a:prstClr val="black"/>
                </a:solidFill>
                <a:latin typeface="Georgia"/>
              </a:rPr>
              <a:t>а </a:t>
            </a:r>
            <a:r>
              <a:rPr lang="ru-RU" sz="1100" b="1" dirty="0">
                <a:solidFill>
                  <a:prstClr val="black"/>
                </a:solidFill>
                <a:latin typeface="Georgia"/>
              </a:rPr>
              <a:t>число занятых – вырасти с 19 до 25 миллионов человек</a:t>
            </a:r>
            <a:endParaRPr lang="ru-RU" sz="1100" b="1" dirty="0" smtClean="0">
              <a:solidFill>
                <a:prstClr val="black"/>
              </a:solidFill>
              <a:latin typeface="Georgia"/>
            </a:endParaRPr>
          </a:p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100" i="1" dirty="0" smtClean="0">
                <a:solidFill>
                  <a:prstClr val="black"/>
                </a:solidFill>
                <a:latin typeface="Georgia"/>
              </a:rPr>
              <a:t>Президент </a:t>
            </a:r>
            <a:r>
              <a:rPr lang="ru-RU" sz="1100" i="1" dirty="0">
                <a:solidFill>
                  <a:prstClr val="black"/>
                </a:solidFill>
                <a:latin typeface="Georgia"/>
              </a:rPr>
              <a:t>РФ Путин В.В</a:t>
            </a:r>
            <a:r>
              <a:rPr lang="ru-RU" sz="1100" i="1" dirty="0" smtClean="0">
                <a:solidFill>
                  <a:prstClr val="black"/>
                </a:solidFill>
                <a:latin typeface="Georgia"/>
              </a:rPr>
              <a:t>., Послание Федеральному Собранию РФ, 2018 г.</a:t>
            </a:r>
            <a:endParaRPr lang="ru-RU" sz="1100" i="1" dirty="0">
              <a:solidFill>
                <a:prstClr val="black"/>
              </a:solidFill>
              <a:latin typeface="Georgia"/>
            </a:endParaRPr>
          </a:p>
        </p:txBody>
      </p:sp>
      <p:pic>
        <p:nvPicPr>
          <p:cNvPr id="12292" name="Picture 4" descr="Картинки по запросу медведев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5353" y="1556792"/>
            <a:ext cx="566387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Скругленная прямоугольная выноска 18"/>
          <p:cNvSpPr/>
          <p:nvPr/>
        </p:nvSpPr>
        <p:spPr>
          <a:xfrm>
            <a:off x="3257543" y="1537765"/>
            <a:ext cx="5835871" cy="873571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20" name="TextBox 14"/>
          <p:cNvSpPr txBox="1">
            <a:spLocks noChangeArrowheads="1"/>
          </p:cNvSpPr>
          <p:nvPr/>
        </p:nvSpPr>
        <p:spPr bwMode="auto">
          <a:xfrm>
            <a:off x="3228590" y="1505192"/>
            <a:ext cx="5853027" cy="9387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100" b="1" dirty="0">
                <a:solidFill>
                  <a:prstClr val="black"/>
                </a:solidFill>
                <a:latin typeface="Georgia"/>
              </a:rPr>
              <a:t>В большинстве стран с современной структурой экономики малый бизнес составляет в районе 50% от числа занятого населения. </a:t>
            </a:r>
            <a:r>
              <a:rPr lang="ru-RU" sz="1100" b="1" dirty="0" smtClean="0">
                <a:solidFill>
                  <a:prstClr val="black"/>
                </a:solidFill>
                <a:latin typeface="Georgia"/>
              </a:rPr>
              <a:t>Это </a:t>
            </a:r>
            <a:r>
              <a:rPr lang="ru-RU" sz="1100" b="1" dirty="0">
                <a:solidFill>
                  <a:prstClr val="black"/>
                </a:solidFill>
                <a:latin typeface="Georgia"/>
              </a:rPr>
              <a:t>те цели, которые мы должны ставить перед собой на ближайшие </a:t>
            </a:r>
            <a:r>
              <a:rPr lang="ru-RU" sz="1100" b="1" dirty="0" smtClean="0">
                <a:solidFill>
                  <a:prstClr val="black"/>
                </a:solidFill>
                <a:latin typeface="Georgia"/>
              </a:rPr>
              <a:t>годы. </a:t>
            </a:r>
          </a:p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100" i="1" dirty="0" smtClean="0">
                <a:solidFill>
                  <a:prstClr val="black"/>
                </a:solidFill>
                <a:latin typeface="Georgia"/>
              </a:rPr>
              <a:t>Председатель Правительства РФ Медведев Д.А., сентябрь 2019 г., встреча с Президентом «ОПОРЫ РОССИИ»</a:t>
            </a:r>
            <a:endParaRPr lang="ru-RU" sz="1100" i="1" dirty="0">
              <a:solidFill>
                <a:prstClr val="black"/>
              </a:solidFill>
              <a:latin typeface="Georgia"/>
            </a:endParaRPr>
          </a:p>
        </p:txBody>
      </p:sp>
      <p:pic>
        <p:nvPicPr>
          <p:cNvPr id="2" name="Picture 5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2002" y="2411336"/>
            <a:ext cx="633088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" name="Скругленная прямоугольная выноска 27"/>
          <p:cNvSpPr/>
          <p:nvPr/>
        </p:nvSpPr>
        <p:spPr>
          <a:xfrm>
            <a:off x="3288450" y="2502943"/>
            <a:ext cx="5784754" cy="997381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29" name="TextBox 14"/>
          <p:cNvSpPr txBox="1">
            <a:spLocks noChangeArrowheads="1"/>
          </p:cNvSpPr>
          <p:nvPr/>
        </p:nvSpPr>
        <p:spPr bwMode="auto">
          <a:xfrm>
            <a:off x="3288450" y="2551576"/>
            <a:ext cx="5810679" cy="10156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Одними </a:t>
            </a:r>
            <a:r>
              <a:rPr lang="ru-RU" sz="1200" b="1" dirty="0">
                <a:solidFill>
                  <a:prstClr val="black"/>
                </a:solidFill>
                <a:latin typeface="Georgia"/>
              </a:rPr>
              <a:t>из главных </a:t>
            </a: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целевых </a:t>
            </a:r>
            <a:r>
              <a:rPr lang="ru-RU" sz="1200" b="1" dirty="0">
                <a:solidFill>
                  <a:prstClr val="black"/>
                </a:solidFill>
                <a:latin typeface="Georgia"/>
              </a:rPr>
              <a:t>показателей </a:t>
            </a: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нацпроекта являются </a:t>
            </a:r>
            <a:r>
              <a:rPr lang="ru-RU" sz="1200" b="1" dirty="0">
                <a:solidFill>
                  <a:prstClr val="black"/>
                </a:solidFill>
                <a:latin typeface="Georgia"/>
              </a:rPr>
              <a:t>увеличение доли малого и среднего бизнеса в ВВП страны с нынешних 22,3% до 32,5%, а числа занятых в секторе - на 5,8 млн человек до 25 млн человек к 2024 году</a:t>
            </a: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. </a:t>
            </a:r>
          </a:p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i="1" dirty="0" smtClean="0">
                <a:solidFill>
                  <a:prstClr val="black"/>
                </a:solidFill>
                <a:latin typeface="Georgia"/>
              </a:rPr>
              <a:t>Первый заместитель Председателя Правительства РФ </a:t>
            </a:r>
            <a:r>
              <a:rPr lang="ru-RU" sz="1200" i="1" dirty="0" err="1" smtClean="0">
                <a:solidFill>
                  <a:prstClr val="black"/>
                </a:solidFill>
                <a:latin typeface="Georgia"/>
              </a:rPr>
              <a:t>Силуанов</a:t>
            </a:r>
            <a:r>
              <a:rPr lang="ru-RU" sz="1200" i="1" dirty="0" smtClean="0">
                <a:solidFill>
                  <a:prstClr val="black"/>
                </a:solidFill>
                <a:latin typeface="Georgia"/>
              </a:rPr>
              <a:t> А.Г.</a:t>
            </a:r>
            <a:endParaRPr lang="ru-RU" sz="1200" i="1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3" name="Скругленная прямоугольная выноска 12"/>
          <p:cNvSpPr/>
          <p:nvPr/>
        </p:nvSpPr>
        <p:spPr>
          <a:xfrm>
            <a:off x="3321036" y="3598468"/>
            <a:ext cx="5797276" cy="498690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14" name="TextBox 14"/>
          <p:cNvSpPr txBox="1">
            <a:spLocks noChangeArrowheads="1"/>
          </p:cNvSpPr>
          <p:nvPr/>
        </p:nvSpPr>
        <p:spPr bwMode="auto">
          <a:xfrm>
            <a:off x="3307634" y="3580185"/>
            <a:ext cx="581067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Счетная Палата РФ – </a:t>
            </a: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выявляет факты нерационального использования средств федерального бюджета на поддержку МСП</a:t>
            </a:r>
            <a:endParaRPr lang="ru-RU" sz="1200" i="1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7" name="Скругленная прямоугольная выноска 16"/>
          <p:cNvSpPr/>
          <p:nvPr/>
        </p:nvSpPr>
        <p:spPr>
          <a:xfrm>
            <a:off x="3346414" y="4274481"/>
            <a:ext cx="5746518" cy="642706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18" name="TextBox 14"/>
          <p:cNvSpPr txBox="1">
            <a:spLocks noChangeArrowheads="1"/>
          </p:cNvSpPr>
          <p:nvPr/>
        </p:nvSpPr>
        <p:spPr bwMode="auto">
          <a:xfrm>
            <a:off x="3333013" y="4277902"/>
            <a:ext cx="5759919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Генеральная прокуратура РФ – </a:t>
            </a: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В 2018 г. прокуратурой было </a:t>
            </a:r>
            <a:r>
              <a:rPr lang="ru-RU" sz="1200" dirty="0">
                <a:solidFill>
                  <a:prstClr val="black"/>
                </a:solidFill>
                <a:latin typeface="Georgia"/>
              </a:rPr>
              <a:t>отменено 27 тысяч незаконных правовых актов и вскрыто порядка 250 тысяч нарушений при рассмотрении предпринимательских дел</a:t>
            </a:r>
            <a:endParaRPr lang="ru-RU" sz="1200" i="1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21" name="Скругленная прямоугольная выноска 20"/>
          <p:cNvSpPr/>
          <p:nvPr/>
        </p:nvSpPr>
        <p:spPr>
          <a:xfrm>
            <a:off x="3385572" y="5241063"/>
            <a:ext cx="5688071" cy="498690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24" name="TextBox 14"/>
          <p:cNvSpPr txBox="1">
            <a:spLocks noChangeArrowheads="1"/>
          </p:cNvSpPr>
          <p:nvPr/>
        </p:nvSpPr>
        <p:spPr bwMode="auto">
          <a:xfrm>
            <a:off x="3408326" y="5278088"/>
            <a:ext cx="5735674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ФНС России –</a:t>
            </a: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 создан удобный прозрачный инструментарий для уплаты налогов и сборов</a:t>
            </a:r>
            <a:endParaRPr lang="ru-RU" sz="1200" i="1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25" name="Скругленная прямоугольная выноска 24"/>
          <p:cNvSpPr/>
          <p:nvPr/>
        </p:nvSpPr>
        <p:spPr>
          <a:xfrm>
            <a:off x="3300581" y="6180398"/>
            <a:ext cx="5815974" cy="498690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26" name="TextBox 14"/>
          <p:cNvSpPr txBox="1">
            <a:spLocks noChangeArrowheads="1"/>
          </p:cNvSpPr>
          <p:nvPr/>
        </p:nvSpPr>
        <p:spPr bwMode="auto">
          <a:xfrm>
            <a:off x="3359885" y="6162115"/>
            <a:ext cx="5810679" cy="4616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ФАС России – </a:t>
            </a: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борьба с монополиями, избыточным присутствием государства в экономике</a:t>
            </a:r>
            <a:endParaRPr lang="ru-RU" sz="1200" i="1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3" name="AutoShape 2" descr="Картинки по запросу кудрин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AutoShape 4" descr="Картинки по запросу кудрин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AutoShape 6" descr="Картинки по запросу кудрин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AutoShape 8" descr="Картинки по запросу кудрин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FFFFFF"/>
              </a:solidFill>
            </a:endParaRPr>
          </a:p>
        </p:txBody>
      </p:sp>
      <p:pic>
        <p:nvPicPr>
          <p:cNvPr id="14347" name="Picture 11" descr="Картинки по запросу кудрин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495" y="3231911"/>
            <a:ext cx="645245" cy="8598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49" name="Picture 13" descr="Картинки по запросу буксман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7633" y="4221088"/>
            <a:ext cx="618734" cy="8043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351" name="Picture 15" descr="Картинки по запросу мишустин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6495" y="5109085"/>
            <a:ext cx="597641" cy="836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0" name="Picture 2" descr="Картинки по запросу артемьев игорь юрьевич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87772" y="5990770"/>
            <a:ext cx="602491" cy="804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446987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20181" y="-144463"/>
            <a:ext cx="7323819" cy="1143000"/>
          </a:xfrm>
        </p:spPr>
        <p:txBody>
          <a:bodyPr/>
          <a:lstStyle/>
          <a:p>
            <a:pPr>
              <a:lnSpc>
                <a:spcPts val="2200"/>
              </a:lnSpc>
            </a:pPr>
            <a:r>
              <a:rPr lang="ru-RU" altLang="ru-RU" sz="28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кто «ПРОТИВ»</a:t>
            </a:r>
            <a:endParaRPr lang="en-US" altLang="ru-RU" sz="28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3" name="AutoShape 2" descr="Картинки по запросу кудрин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AutoShape 4" descr="Картинки по запросу кудрин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5" name="AutoShape 6" descr="Картинки по запросу кудрин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6" name="AutoShape 8" descr="Картинки по запросу кудрин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rgbClr val="FFFFFF"/>
              </a:solidFill>
            </a:endParaRPr>
          </a:p>
        </p:txBody>
      </p:sp>
      <p:sp>
        <p:nvSpPr>
          <p:cNvPr id="30" name="Rectangle 14"/>
          <p:cNvSpPr>
            <a:spLocks noChangeArrowheads="1"/>
          </p:cNvSpPr>
          <p:nvPr/>
        </p:nvSpPr>
        <p:spPr bwMode="auto">
          <a:xfrm>
            <a:off x="1907704" y="605756"/>
            <a:ext cx="7144307" cy="72008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Минэкономразвития: ликвидирован департамент, ответственный за развитие МСП; предложение отказаться от оспаривания кадастровой оценки</a:t>
            </a:r>
          </a:p>
        </p:txBody>
      </p:sp>
      <p:sp>
        <p:nvSpPr>
          <p:cNvPr id="31" name="Rectangle 14"/>
          <p:cNvSpPr>
            <a:spLocks noChangeArrowheads="1"/>
          </p:cNvSpPr>
          <p:nvPr/>
        </p:nvSpPr>
        <p:spPr bwMode="auto">
          <a:xfrm>
            <a:off x="1907703" y="1450132"/>
            <a:ext cx="7144307" cy="72008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Совет Федерации: заблокирован законопроект Правительства  о развитии нестационарной торговли</a:t>
            </a:r>
          </a:p>
        </p:txBody>
      </p:sp>
      <p:sp>
        <p:nvSpPr>
          <p:cNvPr id="32" name="Rectangle 14"/>
          <p:cNvSpPr>
            <a:spLocks noChangeArrowheads="1"/>
          </p:cNvSpPr>
          <p:nvPr/>
        </p:nvSpPr>
        <p:spPr bwMode="auto">
          <a:xfrm>
            <a:off x="1907704" y="2268538"/>
            <a:ext cx="7144307" cy="833214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Контрольно-надзорные органы: увеличение числа проверок малого бизнеса (</a:t>
            </a:r>
            <a:r>
              <a:rPr kumimoji="1" lang="ru-RU" sz="1600" b="1" dirty="0" err="1" smtClean="0">
                <a:solidFill>
                  <a:prstClr val="white"/>
                </a:solidFill>
                <a:latin typeface="Calibri"/>
                <a:cs typeface="Arial" pitchFamily="34" charset="0"/>
              </a:rPr>
              <a:t>Роспотребнадзор</a:t>
            </a: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, </a:t>
            </a:r>
            <a:r>
              <a:rPr kumimoji="1" lang="ru-RU" sz="1600" b="1" dirty="0" err="1" smtClean="0">
                <a:solidFill>
                  <a:prstClr val="white"/>
                </a:solidFill>
                <a:latin typeface="Calibri"/>
                <a:cs typeface="Arial" pitchFamily="34" charset="0"/>
              </a:rPr>
              <a:t>Роструд</a:t>
            </a: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); принятие новых СанПиНов, не устраивающих бизнес (</a:t>
            </a:r>
            <a:r>
              <a:rPr kumimoji="1" lang="ru-RU" sz="1600" b="1" dirty="0" err="1" smtClean="0">
                <a:solidFill>
                  <a:prstClr val="white"/>
                </a:solidFill>
                <a:latin typeface="Calibri"/>
                <a:cs typeface="Arial" pitchFamily="34" charset="0"/>
              </a:rPr>
              <a:t>Роспотребнадзор</a:t>
            </a: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)</a:t>
            </a:r>
          </a:p>
        </p:txBody>
      </p:sp>
      <p:sp>
        <p:nvSpPr>
          <p:cNvPr id="33" name="Rectangle 14"/>
          <p:cNvSpPr>
            <a:spLocks noChangeArrowheads="1"/>
          </p:cNvSpPr>
          <p:nvPr/>
        </p:nvSpPr>
        <p:spPr bwMode="auto">
          <a:xfrm>
            <a:off x="1945247" y="3212976"/>
            <a:ext cx="7144307" cy="72008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МВД и СК РФ: 80 % возбуждаемых против бизнеса уголовных дел «разваливаются» в ходе расследования, нанося непоправимый урон</a:t>
            </a:r>
          </a:p>
        </p:txBody>
      </p:sp>
      <p:sp>
        <p:nvSpPr>
          <p:cNvPr id="34" name="Rectangle 14"/>
          <p:cNvSpPr>
            <a:spLocks noChangeArrowheads="1"/>
          </p:cNvSpPr>
          <p:nvPr/>
        </p:nvSpPr>
        <p:spPr bwMode="auto">
          <a:xfrm>
            <a:off x="1945247" y="4077072"/>
            <a:ext cx="7144307" cy="72008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Ведущие банки: большая доля отказов по кредитам; высокие % ставки; консервативная оценка рисков</a:t>
            </a:r>
          </a:p>
        </p:txBody>
      </p:sp>
      <p:sp>
        <p:nvSpPr>
          <p:cNvPr id="35" name="Rectangle 14"/>
          <p:cNvSpPr>
            <a:spLocks noChangeArrowheads="1"/>
          </p:cNvSpPr>
          <p:nvPr/>
        </p:nvSpPr>
        <p:spPr bwMode="auto">
          <a:xfrm>
            <a:off x="1945247" y="4941168"/>
            <a:ext cx="7144307" cy="864096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Таможенные органы</a:t>
            </a:r>
            <a:r>
              <a:rPr kumimoji="1" lang="ru-RU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: В рейтинге </a:t>
            </a:r>
            <a:r>
              <a:rPr kumimoji="1" lang="ru-RU" sz="16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Doing</a:t>
            </a:r>
            <a:r>
              <a:rPr kumimoji="1" lang="ru-RU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 </a:t>
            </a:r>
            <a:r>
              <a:rPr kumimoji="1" lang="ru-RU" sz="1600" b="1" dirty="0" err="1">
                <a:solidFill>
                  <a:prstClr val="white"/>
                </a:solidFill>
                <a:latin typeface="Calibri"/>
                <a:cs typeface="Arial" pitchFamily="34" charset="0"/>
              </a:rPr>
              <a:t>business</a:t>
            </a:r>
            <a:r>
              <a:rPr kumimoji="1" lang="ru-RU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 по направлению </a:t>
            </a: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«Международная торговля» </a:t>
            </a:r>
            <a:r>
              <a:rPr kumimoji="1" lang="ru-RU" sz="1600" b="1" dirty="0">
                <a:solidFill>
                  <a:prstClr val="white"/>
                </a:solidFill>
                <a:latin typeface="Calibri"/>
                <a:cs typeface="Arial" pitchFamily="34" charset="0"/>
              </a:rPr>
              <a:t>Россия </a:t>
            </a: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находится на 99 месте</a:t>
            </a:r>
          </a:p>
        </p:txBody>
      </p:sp>
      <p:sp>
        <p:nvSpPr>
          <p:cNvPr id="13" name="Rectangle 14"/>
          <p:cNvSpPr>
            <a:spLocks noChangeArrowheads="1"/>
          </p:cNvSpPr>
          <p:nvPr/>
        </p:nvSpPr>
        <p:spPr bwMode="auto">
          <a:xfrm>
            <a:off x="1945246" y="5949280"/>
            <a:ext cx="7144307" cy="720080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Коррупция в среднем звене крупных компаний и </a:t>
            </a:r>
            <a:r>
              <a:rPr kumimoji="1" lang="ru-RU" sz="1600" b="1" smtClean="0">
                <a:solidFill>
                  <a:prstClr val="white"/>
                </a:solidFill>
                <a:latin typeface="Calibri"/>
                <a:cs typeface="Arial" pitchFamily="34" charset="0"/>
              </a:rPr>
              <a:t>государственных корпораций</a:t>
            </a:r>
            <a:endParaRPr kumimoji="1" lang="ru-RU" sz="1600" b="1" dirty="0" smtClean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39218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4569" y="0"/>
            <a:ext cx="6984776" cy="851694"/>
          </a:xfrm>
        </p:spPr>
        <p:txBody>
          <a:bodyPr/>
          <a:lstStyle/>
          <a:p>
            <a:r>
              <a:rPr lang="ru-RU" altLang="ru-RU" sz="3200" dirty="0">
                <a:solidFill>
                  <a:srgbClr val="7030A0"/>
                </a:solidFill>
                <a:latin typeface="a_MonumentoTitul" panose="02060906030706050204" pitchFamily="18" charset="-52"/>
              </a:rPr>
              <a:t>м</a:t>
            </a:r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алый бизнес</a:t>
            </a:r>
            <a:r>
              <a:rPr lang="en-US" altLang="ru-RU" sz="3200" dirty="0">
                <a:solidFill>
                  <a:srgbClr val="7030A0"/>
                </a:solidFill>
                <a:latin typeface="a_MonumentoTitul" panose="02060906030706050204" pitchFamily="18" charset="-52"/>
              </a:rPr>
              <a:t> </a:t>
            </a:r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и конкуренция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14" name="TextBox 23"/>
          <p:cNvSpPr txBox="1">
            <a:spLocks noChangeArrowheads="1"/>
          </p:cNvSpPr>
          <p:nvPr/>
        </p:nvSpPr>
        <p:spPr bwMode="auto">
          <a:xfrm>
            <a:off x="2987824" y="1046926"/>
            <a:ext cx="5941144" cy="44012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just">
              <a:buFontTx/>
              <a:buChar char="•"/>
            </a:pPr>
            <a:r>
              <a:rPr lang="ru-RU" sz="2000" dirty="0" smtClean="0">
                <a:solidFill>
                  <a:srgbClr val="313131"/>
                </a:solidFill>
              </a:rPr>
              <a:t>высокопроизводительные </a:t>
            </a:r>
            <a:r>
              <a:rPr lang="ru-RU" sz="2000" dirty="0">
                <a:solidFill>
                  <a:srgbClr val="313131"/>
                </a:solidFill>
              </a:rPr>
              <a:t>рабочие </a:t>
            </a:r>
            <a:r>
              <a:rPr lang="ru-RU" sz="2000" dirty="0" smtClean="0">
                <a:solidFill>
                  <a:srgbClr val="313131"/>
                </a:solidFill>
              </a:rPr>
              <a:t>места</a:t>
            </a:r>
            <a:endParaRPr lang="ru-RU" dirty="0">
              <a:solidFill>
                <a:srgbClr val="313131"/>
              </a:solidFill>
            </a:endParaRPr>
          </a:p>
          <a:p>
            <a:pPr algn="just"/>
            <a:endParaRPr lang="ru-RU" sz="2000" dirty="0">
              <a:solidFill>
                <a:srgbClr val="313131"/>
              </a:solidFill>
            </a:endParaRPr>
          </a:p>
          <a:p>
            <a:pPr algn="just">
              <a:buFontTx/>
              <a:buChar char="•"/>
            </a:pPr>
            <a:r>
              <a:rPr lang="ru-RU" sz="2000" dirty="0" smtClean="0">
                <a:solidFill>
                  <a:srgbClr val="313131"/>
                </a:solidFill>
              </a:rPr>
              <a:t>рост </a:t>
            </a:r>
            <a:r>
              <a:rPr lang="ru-RU" sz="2000" dirty="0" err="1">
                <a:solidFill>
                  <a:srgbClr val="313131"/>
                </a:solidFill>
              </a:rPr>
              <a:t>инновационности</a:t>
            </a:r>
            <a:r>
              <a:rPr lang="ru-RU" sz="2000" dirty="0">
                <a:solidFill>
                  <a:srgbClr val="313131"/>
                </a:solidFill>
              </a:rPr>
              <a:t> </a:t>
            </a:r>
            <a:r>
              <a:rPr lang="ru-RU" sz="2000" dirty="0" smtClean="0">
                <a:solidFill>
                  <a:srgbClr val="313131"/>
                </a:solidFill>
              </a:rPr>
              <a:t>экономики</a:t>
            </a:r>
            <a:endParaRPr lang="ru-RU" sz="2000" dirty="0">
              <a:solidFill>
                <a:srgbClr val="313131"/>
              </a:solidFill>
            </a:endParaRPr>
          </a:p>
          <a:p>
            <a:pPr algn="just"/>
            <a:endParaRPr lang="ru-RU" sz="2000" dirty="0">
              <a:solidFill>
                <a:srgbClr val="313131"/>
              </a:solidFill>
            </a:endParaRPr>
          </a:p>
          <a:p>
            <a:pPr algn="just">
              <a:buFontTx/>
              <a:buChar char="•"/>
            </a:pPr>
            <a:r>
              <a:rPr lang="ru-RU" sz="2000" dirty="0" smtClean="0">
                <a:solidFill>
                  <a:srgbClr val="313131"/>
                </a:solidFill>
              </a:rPr>
              <a:t>конкурентоспособность </a:t>
            </a:r>
            <a:r>
              <a:rPr lang="ru-RU" sz="2000" dirty="0">
                <a:solidFill>
                  <a:srgbClr val="313131"/>
                </a:solidFill>
              </a:rPr>
              <a:t>российских </a:t>
            </a:r>
            <a:r>
              <a:rPr lang="ru-RU" sz="2000" dirty="0" smtClean="0">
                <a:solidFill>
                  <a:srgbClr val="313131"/>
                </a:solidFill>
              </a:rPr>
              <a:t>предприятий на глобальных рынках</a:t>
            </a:r>
            <a:endParaRPr lang="ru-RU" sz="2000" dirty="0">
              <a:solidFill>
                <a:srgbClr val="313131"/>
              </a:solidFill>
            </a:endParaRPr>
          </a:p>
          <a:p>
            <a:pPr algn="just"/>
            <a:endParaRPr lang="ru-RU" sz="2000" dirty="0">
              <a:solidFill>
                <a:srgbClr val="313131"/>
              </a:solidFill>
            </a:endParaRPr>
          </a:p>
          <a:p>
            <a:pPr algn="just">
              <a:buFontTx/>
              <a:buChar char="•"/>
            </a:pPr>
            <a:r>
              <a:rPr lang="ru-RU" sz="2000" dirty="0" smtClean="0">
                <a:solidFill>
                  <a:srgbClr val="313131"/>
                </a:solidFill>
              </a:rPr>
              <a:t>гибкость </a:t>
            </a:r>
            <a:r>
              <a:rPr lang="ru-RU" sz="2000" dirty="0">
                <a:solidFill>
                  <a:srgbClr val="313131"/>
                </a:solidFill>
              </a:rPr>
              <a:t>и многообразие форм предпринимательской </a:t>
            </a:r>
            <a:r>
              <a:rPr lang="ru-RU" sz="2000" dirty="0" smtClean="0">
                <a:solidFill>
                  <a:srgbClr val="313131"/>
                </a:solidFill>
              </a:rPr>
              <a:t>активности</a:t>
            </a:r>
            <a:endParaRPr lang="ru-RU" dirty="0">
              <a:solidFill>
                <a:srgbClr val="313131"/>
              </a:solidFill>
            </a:endParaRPr>
          </a:p>
          <a:p>
            <a:pPr algn="just"/>
            <a:endParaRPr lang="ru-RU" sz="2000" dirty="0">
              <a:solidFill>
                <a:srgbClr val="313131"/>
              </a:solidFill>
            </a:endParaRPr>
          </a:p>
          <a:p>
            <a:pPr algn="just">
              <a:buFontTx/>
              <a:buChar char="•"/>
            </a:pPr>
            <a:r>
              <a:rPr lang="ru-RU" sz="2000" smtClean="0">
                <a:solidFill>
                  <a:srgbClr val="313131"/>
                </a:solidFill>
              </a:rPr>
              <a:t>смягчение </a:t>
            </a:r>
            <a:r>
              <a:rPr lang="ru-RU" sz="2000" dirty="0" smtClean="0">
                <a:solidFill>
                  <a:srgbClr val="313131"/>
                </a:solidFill>
              </a:rPr>
              <a:t>влияния </a:t>
            </a:r>
            <a:r>
              <a:rPr lang="ru-RU" sz="2000" dirty="0">
                <a:solidFill>
                  <a:srgbClr val="313131"/>
                </a:solidFill>
              </a:rPr>
              <a:t>экономических </a:t>
            </a:r>
            <a:r>
              <a:rPr lang="ru-RU" sz="2000" dirty="0" smtClean="0">
                <a:solidFill>
                  <a:srgbClr val="313131"/>
                </a:solidFill>
              </a:rPr>
              <a:t>кризисов</a:t>
            </a:r>
            <a:endParaRPr lang="ru-RU" dirty="0">
              <a:solidFill>
                <a:srgbClr val="313131"/>
              </a:solidFill>
            </a:endParaRPr>
          </a:p>
          <a:p>
            <a:pPr algn="just"/>
            <a:endParaRPr lang="ru-RU" sz="2000" dirty="0" smtClean="0">
              <a:solidFill>
                <a:srgbClr val="313131"/>
              </a:solidFill>
            </a:endParaRPr>
          </a:p>
          <a:p>
            <a:pPr algn="just"/>
            <a:endParaRPr lang="ru-RU" sz="2000" dirty="0">
              <a:solidFill>
                <a:srgbClr val="313131"/>
              </a:solidFill>
            </a:endParaRPr>
          </a:p>
          <a:p>
            <a:pPr algn="just">
              <a:buFontTx/>
              <a:buChar char="•"/>
            </a:pPr>
            <a:r>
              <a:rPr lang="ru-RU" sz="2000" dirty="0">
                <a:solidFill>
                  <a:srgbClr val="313131"/>
                </a:solidFill>
              </a:rPr>
              <a:t>«прививка» от </a:t>
            </a:r>
            <a:r>
              <a:rPr lang="ru-RU" sz="2000" dirty="0" smtClean="0">
                <a:solidFill>
                  <a:srgbClr val="313131"/>
                </a:solidFill>
              </a:rPr>
              <a:t>сырьевой </a:t>
            </a:r>
            <a:r>
              <a:rPr lang="ru-RU" sz="2000" dirty="0" err="1" smtClean="0">
                <a:solidFill>
                  <a:srgbClr val="313131"/>
                </a:solidFill>
              </a:rPr>
              <a:t>зависимости</a:t>
            </a:r>
            <a:r>
              <a:rPr lang="ru-RU" sz="2000" dirty="0" err="1" smtClean="0">
                <a:solidFill>
                  <a:srgbClr val="FFFFFF"/>
                </a:solidFill>
              </a:rPr>
              <a:t>и</a:t>
            </a: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835696" y="1036607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6" name="Скругленный прямоугольник 11"/>
          <p:cNvSpPr/>
          <p:nvPr/>
        </p:nvSpPr>
        <p:spPr>
          <a:xfrm>
            <a:off x="1851348" y="1712913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Скругленный прямоугольник 11"/>
          <p:cNvSpPr/>
          <p:nvPr/>
        </p:nvSpPr>
        <p:spPr>
          <a:xfrm>
            <a:off x="1846015" y="2348880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8" name="Скругленный прямоугольник 11"/>
          <p:cNvSpPr/>
          <p:nvPr/>
        </p:nvSpPr>
        <p:spPr>
          <a:xfrm>
            <a:off x="1835695" y="3253581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Скругленный прямоугольник 11"/>
          <p:cNvSpPr/>
          <p:nvPr/>
        </p:nvSpPr>
        <p:spPr>
          <a:xfrm>
            <a:off x="1835696" y="4168776"/>
            <a:ext cx="619125" cy="417512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Скругленный прямоугольник 11"/>
          <p:cNvSpPr/>
          <p:nvPr/>
        </p:nvSpPr>
        <p:spPr>
          <a:xfrm>
            <a:off x="1851348" y="5030618"/>
            <a:ext cx="619125" cy="417513"/>
          </a:xfrm>
          <a:prstGeom prst="roundRect">
            <a:avLst>
              <a:gd name="adj" fmla="val 10000"/>
            </a:avLst>
          </a:prstGeom>
          <a:blipFill rotWithShape="0">
            <a:blip r:embed="rId4" cstate="print"/>
            <a:stretch>
              <a:fillRect/>
            </a:stretch>
          </a:blipFill>
        </p:spPr>
        <p:style>
          <a:lnRef idx="1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1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</p:spTree>
    <p:extLst>
      <p:ext uri="{BB962C8B-B14F-4D97-AF65-F5344CB8AC3E}">
        <p14:creationId xmlns:p14="http://schemas.microsoft.com/office/powerpoint/2010/main" val="1054266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858381" y="991841"/>
            <a:ext cx="6851104" cy="1143000"/>
          </a:xfrm>
        </p:spPr>
        <p:txBody>
          <a:bodyPr/>
          <a:lstStyle/>
          <a:p>
            <a:r>
              <a:rPr lang="ru-RU" altLang="ru-RU" sz="2000" b="1" i="1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Национальный проект «Повышение производительности труда и поддержка занятости»</a:t>
            </a:r>
            <a:endParaRPr lang="en-US" altLang="ru-RU" sz="2000" b="1" i="1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12" name="Rectangle 2"/>
          <p:cNvSpPr txBox="1">
            <a:spLocks noChangeArrowheads="1"/>
          </p:cNvSpPr>
          <p:nvPr/>
        </p:nvSpPr>
        <p:spPr bwMode="auto">
          <a:xfrm>
            <a:off x="1799693" y="-99392"/>
            <a:ext cx="6923112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9pPr>
          </a:lstStyle>
          <a:p>
            <a:r>
              <a:rPr lang="ru-RU" altLang="ru-RU" sz="3200" kern="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повышение производительности труда</a:t>
            </a:r>
            <a:endParaRPr lang="en-US" altLang="ru-RU" sz="2000" kern="0" dirty="0">
              <a:solidFill>
                <a:srgbClr val="7030A0"/>
              </a:solidFill>
              <a:latin typeface="Amelia_DG" pitchFamily="2" charset="0"/>
            </a:endParaRP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6858" y="1916832"/>
            <a:ext cx="5848350" cy="2114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95736" y="4031382"/>
            <a:ext cx="4748758" cy="27045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6876256" y="4154785"/>
            <a:ext cx="2184994" cy="1429699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Малый бизнес (до 400 </a:t>
            </a:r>
            <a:r>
              <a:rPr lang="ru-RU" sz="1600" b="1" dirty="0" err="1" smtClean="0">
                <a:solidFill>
                  <a:srgbClr val="FF0000"/>
                </a:solidFill>
                <a:latin typeface="Garamond" panose="02020404030301010803" pitchFamily="18" charset="0"/>
              </a:rPr>
              <a:t>млн.руб</a:t>
            </a: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.) не может воспользоваться мерами поддержки нацпроекта</a:t>
            </a:r>
            <a:endParaRPr lang="ru-RU" sz="1600" b="1" dirty="0">
              <a:solidFill>
                <a:srgbClr val="FF0000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76509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155277" y="4614"/>
            <a:ext cx="269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chemeClr val="bg2"/>
                </a:solidFill>
              </a:rPr>
              <a:t>2</a:t>
            </a:r>
            <a:endParaRPr lang="ru-RU" sz="1200" dirty="0">
              <a:solidFill>
                <a:schemeClr val="bg2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1799693" y="-99392"/>
            <a:ext cx="6923112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9pPr>
          </a:lstStyle>
          <a:p>
            <a:r>
              <a:rPr lang="ru-RU" altLang="ru-RU" sz="2800" kern="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Административное и уголовное давление – ключевой барьер для бизнеса</a:t>
            </a:r>
            <a:endParaRPr lang="en-US" altLang="ru-RU" sz="2800" kern="0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5" name="Объект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12422447"/>
              </p:ext>
            </p:extLst>
          </p:nvPr>
        </p:nvGraphicFramePr>
        <p:xfrm>
          <a:off x="1834345" y="908720"/>
          <a:ext cx="5508611" cy="266429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07" name="Диаграмма" r:id="rId6" imgW="8915337" imgH="2981416" progId="Excel.Chart.8">
                  <p:embed/>
                </p:oleObj>
              </mc:Choice>
              <mc:Fallback>
                <p:oleObj name="Диаграмма" r:id="rId6" imgW="8915337" imgH="2981416" progId="Excel.Chart.8">
                  <p:embed/>
                  <p:pic>
                    <p:nvPicPr>
                      <p:cNvPr id="0" name="Диаграмма 1"/>
                      <p:cNvPicPr>
                        <a:picLocks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34345" y="908720"/>
                        <a:ext cx="5508611" cy="266429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6" name="Object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27720405"/>
              </p:ext>
            </p:extLst>
          </p:nvPr>
        </p:nvGraphicFramePr>
        <p:xfrm>
          <a:off x="1922004" y="3573016"/>
          <a:ext cx="5426260" cy="31179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17" name="Прямоугольник 16"/>
          <p:cNvSpPr/>
          <p:nvPr/>
        </p:nvSpPr>
        <p:spPr>
          <a:xfrm>
            <a:off x="7164288" y="3717032"/>
            <a:ext cx="1979712" cy="2691705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FF0000"/>
                </a:solidFill>
                <a:latin typeface="Garamond" panose="02020404030301010803" pitchFamily="18" charset="0"/>
              </a:rPr>
              <a:t>Более </a:t>
            </a: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50 % считают </a:t>
            </a:r>
            <a:r>
              <a:rPr lang="ru-RU" sz="1600" b="1" dirty="0">
                <a:solidFill>
                  <a:srgbClr val="FF0000"/>
                </a:solidFill>
                <a:latin typeface="Garamond" panose="02020404030301010803" pitchFamily="18" charset="0"/>
              </a:rPr>
              <a:t>уровень административных барьеров высоким. </a:t>
            </a:r>
            <a:endParaRPr lang="ru-RU" sz="1600" b="1" dirty="0" smtClean="0">
              <a:solidFill>
                <a:srgbClr val="FF0000"/>
              </a:solidFill>
              <a:latin typeface="Garamond" panose="02020404030301010803" pitchFamily="18" charset="0"/>
            </a:endParaRPr>
          </a:p>
          <a:p>
            <a:pPr algn="just" fontAlgn="auto">
              <a:lnSpc>
                <a:spcPts val="12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rgbClr val="FF0000"/>
                </a:solidFill>
                <a:latin typeface="Garamond" panose="02020404030301010803" pitchFamily="18" charset="0"/>
              </a:rPr>
              <a:t>Издержки на преодоление </a:t>
            </a: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барьеров </a:t>
            </a:r>
            <a:r>
              <a:rPr lang="ru-RU" sz="1600" b="1" dirty="0">
                <a:solidFill>
                  <a:srgbClr val="FF0000"/>
                </a:solidFill>
                <a:latin typeface="Garamond" panose="02020404030301010803" pitchFamily="18" charset="0"/>
              </a:rPr>
              <a:t>фактически являются налогом – для </a:t>
            </a: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10</a:t>
            </a:r>
            <a:r>
              <a:rPr lang="en-US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 </a:t>
            </a: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% </a:t>
            </a:r>
            <a:r>
              <a:rPr lang="ru-RU" sz="1600" b="1" dirty="0">
                <a:solidFill>
                  <a:srgbClr val="FF0000"/>
                </a:solidFill>
                <a:latin typeface="Garamond" panose="02020404030301010803" pitchFamily="18" charset="0"/>
              </a:rPr>
              <a:t>предпринимателей издержки превышают 10 % их </a:t>
            </a: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оборота</a:t>
            </a:r>
            <a:endParaRPr lang="ru-RU" sz="1600" b="1" dirty="0">
              <a:solidFill>
                <a:srgbClr val="FF0000"/>
              </a:solidFill>
              <a:latin typeface="Garamond" panose="02020404030301010803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5155277" y="4614"/>
            <a:ext cx="26962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rgbClr val="313131"/>
                </a:solidFill>
              </a:rPr>
              <a:t>2</a:t>
            </a:r>
            <a:endParaRPr lang="ru-RU" sz="1200" dirty="0">
              <a:solidFill>
                <a:srgbClr val="313131"/>
              </a:solidFill>
            </a:endParaRPr>
          </a:p>
        </p:txBody>
      </p:sp>
      <p:sp>
        <p:nvSpPr>
          <p:cNvPr id="7" name="Rectangle 2"/>
          <p:cNvSpPr txBox="1">
            <a:spLocks noChangeArrowheads="1"/>
          </p:cNvSpPr>
          <p:nvPr/>
        </p:nvSpPr>
        <p:spPr bwMode="auto">
          <a:xfrm>
            <a:off x="1799693" y="-99392"/>
            <a:ext cx="6923112" cy="1143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Microsoft Sans Serif" pitchFamily="34" charset="0"/>
              </a:defRPr>
            </a:lvl9pPr>
          </a:lstStyle>
          <a:p>
            <a:r>
              <a:rPr lang="ru-RU" altLang="ru-RU" sz="2800" kern="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Административное и уголовное давление – ключевой барьер для бизнеса</a:t>
            </a:r>
            <a:endParaRPr lang="en-US" altLang="ru-RU" sz="2800" kern="0" dirty="0">
              <a:solidFill>
                <a:srgbClr val="7030A0"/>
              </a:solidFill>
              <a:latin typeface="Amelia_DG" pitchFamily="2" charset="0"/>
            </a:endParaRP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9692" y="870645"/>
            <a:ext cx="3924435" cy="28015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Прямоугольник 9"/>
          <p:cNvSpPr/>
          <p:nvPr/>
        </p:nvSpPr>
        <p:spPr>
          <a:xfrm>
            <a:off x="2508416" y="3705637"/>
            <a:ext cx="2506985" cy="317286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Рост + 4 %</a:t>
            </a:r>
            <a:endParaRPr lang="ru-RU" b="1" dirty="0">
              <a:solidFill>
                <a:srgbClr val="FF0000"/>
              </a:solidFill>
              <a:latin typeface="Garamond" panose="02020404030301010803" pitchFamily="18" charset="0"/>
            </a:endParaRPr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9561" y="4868743"/>
            <a:ext cx="5407246" cy="18651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Прямоугольник 12"/>
          <p:cNvSpPr/>
          <p:nvPr/>
        </p:nvSpPr>
        <p:spPr>
          <a:xfrm>
            <a:off x="5724127" y="3508347"/>
            <a:ext cx="3405360" cy="1368152"/>
          </a:xfrm>
          <a:prstGeom prst="rect">
            <a:avLst/>
          </a:prstGeom>
          <a:gradFill flip="none" rotWithShape="1">
            <a:gsLst>
              <a:gs pos="0">
                <a:schemeClr val="accent1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1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1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Всего </a:t>
            </a:r>
            <a:r>
              <a:rPr lang="ru-RU" sz="1600" b="1" dirty="0">
                <a:solidFill>
                  <a:srgbClr val="FF0000"/>
                </a:solidFill>
                <a:latin typeface="Garamond" panose="02020404030301010803" pitchFamily="18" charset="0"/>
              </a:rPr>
              <a:t>в 21 % случаев возбужденное дело приводит к </a:t>
            </a: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приговору. За 5 лет </a:t>
            </a:r>
            <a:r>
              <a:rPr lang="ru-RU" sz="1600" b="1" dirty="0">
                <a:solidFill>
                  <a:srgbClr val="FF0000"/>
                </a:solidFill>
                <a:latin typeface="Garamond" panose="02020404030301010803" pitchFamily="18" charset="0"/>
              </a:rPr>
              <a:t>число осужденных по экономическим статьям (статьи 169-200.3 УК РФ) выросло на </a:t>
            </a:r>
            <a:r>
              <a:rPr lang="ru-RU" sz="1600" b="1" dirty="0" smtClean="0">
                <a:solidFill>
                  <a:srgbClr val="FF0000"/>
                </a:solidFill>
                <a:latin typeface="Garamond" panose="02020404030301010803" pitchFamily="18" charset="0"/>
              </a:rPr>
              <a:t>100 %</a:t>
            </a:r>
            <a:endParaRPr lang="ru-RU" sz="1600" b="1" dirty="0">
              <a:solidFill>
                <a:srgbClr val="FF0000"/>
              </a:solidFill>
              <a:latin typeface="Garamond" panose="02020404030301010803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0659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421" y="116632"/>
            <a:ext cx="9001000" cy="1143000"/>
          </a:xfrm>
        </p:spPr>
        <p:txBody>
          <a:bodyPr>
            <a:normAutofit/>
          </a:bodyPr>
          <a:lstStyle/>
          <a:p>
            <a:r>
              <a:rPr lang="ru-RU" sz="3000" b="1" dirty="0" smtClean="0">
                <a:solidFill>
                  <a:schemeClr val="tx2">
                    <a:lumMod val="75000"/>
                  </a:schemeClr>
                </a:solidFill>
              </a:rPr>
              <a:t>БИЗНЕС-АССОЦИАЦИИ – ДРАЙВЕР РАЗВИТИЯ МСП</a:t>
            </a:r>
            <a:endParaRPr lang="ru-RU" sz="3000" b="1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1862982" y="1340768"/>
            <a:ext cx="5328592" cy="1419895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ru-RU" sz="1400" dirty="0">
                <a:solidFill>
                  <a:schemeClr val="tx2">
                    <a:lumMod val="75000"/>
                  </a:schemeClr>
                </a:solidFill>
              </a:rPr>
              <a:t>Общероссийская общественная организация малого и среднего предпринимательства «ОПОРА РОССИИ» – крупнейшее объединение предпринимателей нашей страны</a:t>
            </a:r>
          </a:p>
          <a:p>
            <a:pPr marL="0" indent="0">
              <a:buNone/>
            </a:pPr>
            <a:endParaRPr lang="ru-RU" sz="1400" b="1" dirty="0" smtClean="0"/>
          </a:p>
          <a:p>
            <a:pPr marL="0" indent="0" algn="ctr">
              <a:buNone/>
            </a:pPr>
            <a:r>
              <a:rPr lang="ru-RU" sz="1400" b="1" dirty="0" smtClean="0">
                <a:solidFill>
                  <a:schemeClr val="tx2">
                    <a:lumMod val="75000"/>
                  </a:schemeClr>
                </a:solidFill>
              </a:rPr>
              <a:t>Дата создания 18.09.2002</a:t>
            </a:r>
            <a:endParaRPr lang="ru-RU" sz="14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2051" name="Picture 3" descr="C:\Users\pkarpova\Documents\Карпова\БУКЛЕТ ОПОРЫ\Дизайнерские элементы из буклета\png-12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1423988"/>
            <a:ext cx="1444625" cy="1336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2" name="Picture 4" descr="C:\Users\pkarpova\Documents\Карпова\БУКЛЕТ ОПОРЫ\Дизайнерские элементы из буклета\png-13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1484784"/>
            <a:ext cx="1335087" cy="1330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Oval 16"/>
          <p:cNvSpPr/>
          <p:nvPr/>
        </p:nvSpPr>
        <p:spPr>
          <a:xfrm>
            <a:off x="755335" y="4089725"/>
            <a:ext cx="651674" cy="601370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C0504D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8" name="Oval 24"/>
          <p:cNvSpPr/>
          <p:nvPr/>
        </p:nvSpPr>
        <p:spPr>
          <a:xfrm>
            <a:off x="755335" y="4941168"/>
            <a:ext cx="651674" cy="601370"/>
          </a:xfrm>
          <a:prstGeom prst="ellipse">
            <a:avLst/>
          </a:prstGeom>
          <a:noFill/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F79646">
                    <a:lumMod val="50000"/>
                  </a:srgbClr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9" name="Oval 25"/>
          <p:cNvSpPr/>
          <p:nvPr/>
        </p:nvSpPr>
        <p:spPr>
          <a:xfrm>
            <a:off x="755576" y="5805264"/>
            <a:ext cx="651674" cy="60137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C00000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981309" y="3137083"/>
            <a:ext cx="117551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3200" b="1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ЦЕЛИ</a:t>
            </a:r>
            <a:endParaRPr lang="ru-RU" sz="3200" b="1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547664" y="3928745"/>
            <a:ext cx="72008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Создание благоприятной среды для ведения предпринимательской деятельности в России – возможность творить, создавать добавленную стоимость, не опасаясь за собственность и свой бизнес.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1600977" y="5125834"/>
            <a:ext cx="7094173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Увеличение роли МСП в российской и мировой экономике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1616273" y="5760303"/>
            <a:ext cx="628416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75000"/>
                  </a:srgbClr>
                </a:solidFill>
                <a:latin typeface="Calibri"/>
              </a:rPr>
              <a:t>Развитие российского предпринимательства, в том числе культуры ведения предпринимательской деятельности.</a:t>
            </a:r>
          </a:p>
        </p:txBody>
      </p:sp>
    </p:spTree>
    <p:extLst>
      <p:ext uri="{BB962C8B-B14F-4D97-AF65-F5344CB8AC3E}">
        <p14:creationId xmlns:p14="http://schemas.microsoft.com/office/powerpoint/2010/main" val="3238486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99010" y="-234280"/>
            <a:ext cx="6923112" cy="1143000"/>
          </a:xfrm>
        </p:spPr>
        <p:txBody>
          <a:bodyPr/>
          <a:lstStyle/>
          <a:p>
            <a:pPr>
              <a:lnSpc>
                <a:spcPts val="2200"/>
              </a:lnSpc>
            </a:pPr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малый бизнес: 10 ШАГОВ «ЗА»</a:t>
            </a:r>
            <a:endParaRPr lang="en-US" altLang="ru-RU" sz="20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9" name="Rectangle 14"/>
          <p:cNvSpPr>
            <a:spLocks noChangeArrowheads="1"/>
          </p:cNvSpPr>
          <p:nvPr/>
        </p:nvSpPr>
        <p:spPr bwMode="auto">
          <a:xfrm>
            <a:off x="2531485" y="404664"/>
            <a:ext cx="6568243" cy="648072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Незамедлительная ревизия </a:t>
            </a: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всех НПА, сдерживающих развитие предпринимательства (в том числе в рамках «регуляторной гильотины») с участием бизнес-сообщества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7" name="Rectangle 14"/>
          <p:cNvSpPr>
            <a:spLocks noChangeArrowheads="1"/>
          </p:cNvSpPr>
          <p:nvPr/>
        </p:nvSpPr>
        <p:spPr bwMode="auto">
          <a:xfrm>
            <a:off x="2518841" y="1124744"/>
            <a:ext cx="6568243" cy="428709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Решительные действия </a:t>
            </a:r>
            <a:r>
              <a:rPr kumimoji="1" lang="ru-RU" sz="1600" b="1" dirty="0" smtClean="0">
                <a:solidFill>
                  <a:prstClr val="white"/>
                </a:solidFill>
                <a:latin typeface="Calibri"/>
                <a:cs typeface="Arial" pitchFamily="34" charset="0"/>
              </a:rPr>
              <a:t>по акселерации (выращиванию) перспективных бизнес-проектов, включая финансовую поддержку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8" name="Rectangle 14"/>
          <p:cNvSpPr>
            <a:spLocks noChangeArrowheads="1"/>
          </p:cNvSpPr>
          <p:nvPr/>
        </p:nvSpPr>
        <p:spPr bwMode="auto">
          <a:xfrm>
            <a:off x="2528417" y="1628800"/>
            <a:ext cx="6568243" cy="596266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Font typeface="Arial" panose="020B0604020202020204" pitchFamily="34" charset="0"/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Срочная, а в будущем регулярная оценка 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уровня компетенций государственных и муниципальных служащих, ответственных за развитие предпринимательства с участием бизнес-сообщества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19" name="Rectangle 14"/>
          <p:cNvSpPr>
            <a:spLocks noChangeArrowheads="1"/>
          </p:cNvSpPr>
          <p:nvPr/>
        </p:nvSpPr>
        <p:spPr bwMode="auto">
          <a:xfrm>
            <a:off x="2512368" y="2266374"/>
            <a:ext cx="6568243" cy="600108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lnSpc>
                <a:spcPct val="85000"/>
              </a:lnSpc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Обязательное утверждение </a:t>
            </a:r>
            <a:r>
              <a:rPr kumimoji="1" lang="en-US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KPI</a:t>
            </a: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 </a:t>
            </a:r>
            <a:r>
              <a:rPr kumimoji="1" lang="ru-RU" sz="1600" b="1" dirty="0">
                <a:solidFill>
                  <a:schemeClr val="bg1"/>
                </a:solidFill>
                <a:latin typeface="Calibri"/>
                <a:cs typeface="Arial" pitchFamily="34" charset="0"/>
              </a:rPr>
              <a:t>государственных и муниципальных 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служащих</a:t>
            </a:r>
            <a:r>
              <a:rPr kumimoji="1" lang="en-US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 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по развития предпринимательства после всестороннего обсуждения и согласования с бизнес-сообществом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0" name="Rectangle 14"/>
          <p:cNvSpPr>
            <a:spLocks noChangeArrowheads="1"/>
          </p:cNvSpPr>
          <p:nvPr/>
        </p:nvSpPr>
        <p:spPr bwMode="auto">
          <a:xfrm>
            <a:off x="2537869" y="2962264"/>
            <a:ext cx="6568243" cy="484643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Обязательный ежегодный мониторинг 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эффективности мер господдержки МСП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1" name="Rectangle 14"/>
          <p:cNvSpPr>
            <a:spLocks noChangeArrowheads="1"/>
          </p:cNvSpPr>
          <p:nvPr/>
        </p:nvSpPr>
        <p:spPr bwMode="auto">
          <a:xfrm>
            <a:off x="2547942" y="3573016"/>
            <a:ext cx="6568243" cy="521312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Неукоснительные кадровые меры 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за невыполнение показателей по развитию МСП, определенных Президентом России и нацпроектом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2" name="Rectangle 14"/>
          <p:cNvSpPr>
            <a:spLocks noChangeArrowheads="1"/>
          </p:cNvSpPr>
          <p:nvPr/>
        </p:nvSpPr>
        <p:spPr bwMode="auto">
          <a:xfrm>
            <a:off x="2510576" y="4152679"/>
            <a:ext cx="6568243" cy="533791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Всемерное поощрение государством 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роста консолидированного бизнес-сообщества, формирования бизнес-объединений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3" name="Rectangle 14"/>
          <p:cNvSpPr>
            <a:spLocks noChangeArrowheads="1"/>
          </p:cNvSpPr>
          <p:nvPr/>
        </p:nvSpPr>
        <p:spPr bwMode="auto">
          <a:xfrm>
            <a:off x="2498693" y="4797152"/>
            <a:ext cx="6588391" cy="688324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Незамедлительное внедрение 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форм «</a:t>
            </a:r>
            <a:r>
              <a:rPr kumimoji="1" lang="ru-RU" sz="1600" b="1" dirty="0" err="1" smtClean="0">
                <a:solidFill>
                  <a:schemeClr val="bg1"/>
                </a:solidFill>
                <a:latin typeface="Calibri"/>
                <a:cs typeface="Arial" pitchFamily="34" charset="0"/>
              </a:rPr>
              <a:t>частно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-государственного партнерства» органов власти и бизнес-сообщества, отвечающих специально разработанным критериям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auto">
          <a:xfrm>
            <a:off x="2483768" y="5589239"/>
            <a:ext cx="6588391" cy="665237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Решительная защита 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всех форм прозрачного бизнеса с одновременным выявлением и противодействием любым видам </a:t>
            </a:r>
            <a:r>
              <a:rPr kumimoji="1" lang="ru-RU" sz="1600" b="1" dirty="0" err="1" smtClean="0">
                <a:solidFill>
                  <a:schemeClr val="bg1"/>
                </a:solidFill>
                <a:latin typeface="Calibri"/>
                <a:cs typeface="Arial" pitchFamily="34" charset="0"/>
              </a:rPr>
              <a:t>нетранспарентного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 бизнеса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5" name="Rectangle 14"/>
          <p:cNvSpPr>
            <a:spLocks noChangeArrowheads="1"/>
          </p:cNvSpPr>
          <p:nvPr/>
        </p:nvSpPr>
        <p:spPr bwMode="auto">
          <a:xfrm>
            <a:off x="2510576" y="6381328"/>
            <a:ext cx="6588391" cy="432048"/>
          </a:xfrm>
          <a:prstGeom prst="roundRect">
            <a:avLst>
              <a:gd name="adj" fmla="val 16667"/>
            </a:avLst>
          </a:prstGeom>
          <a:solidFill>
            <a:srgbClr val="095F99"/>
          </a:solidFill>
          <a:ln>
            <a:noFill/>
          </a:ln>
          <a:effectLst/>
          <a:extLst/>
        </p:spPr>
        <p:txBody>
          <a:bodyPr lIns="36000" tIns="36000" rIns="36000" bIns="36000" anchor="ctr"/>
          <a:lstStyle>
            <a:lvl1pPr marL="34925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0" hangingPunct="0">
              <a:buNone/>
              <a:defRPr/>
            </a:pPr>
            <a:r>
              <a:rPr kumimoji="1" lang="ru-RU" sz="1600" b="1" dirty="0" smtClean="0">
                <a:solidFill>
                  <a:srgbClr val="FF0000"/>
                </a:solidFill>
                <a:latin typeface="Calibri"/>
                <a:cs typeface="Arial" pitchFamily="34" charset="0"/>
              </a:rPr>
              <a:t>Объективно и громогласно </a:t>
            </a:r>
            <a:r>
              <a:rPr kumimoji="1" lang="ru-RU" sz="1600" b="1" dirty="0" smtClean="0">
                <a:solidFill>
                  <a:schemeClr val="bg1"/>
                </a:solidFill>
                <a:latin typeface="Calibri"/>
                <a:cs typeface="Arial" pitchFamily="34" charset="0"/>
              </a:rPr>
              <a:t>показывать обществу все факты, все проявления давления на бизнес</a:t>
            </a:r>
            <a:endParaRPr kumimoji="1" lang="ru-RU" sz="1600" b="1" dirty="0">
              <a:solidFill>
                <a:prstClr val="white"/>
              </a:solidFill>
              <a:latin typeface="Calibri"/>
              <a:cs typeface="Arial" pitchFamily="34" charset="0"/>
            </a:endParaRPr>
          </a:p>
        </p:txBody>
      </p:sp>
      <p:sp>
        <p:nvSpPr>
          <p:cNvPr id="2" name="Овал 1"/>
          <p:cNvSpPr/>
          <p:nvPr/>
        </p:nvSpPr>
        <p:spPr bwMode="auto">
          <a:xfrm>
            <a:off x="1950790" y="494674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Овал 26"/>
          <p:cNvSpPr/>
          <p:nvPr/>
        </p:nvSpPr>
        <p:spPr bwMode="auto">
          <a:xfrm>
            <a:off x="1950790" y="1086102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2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1" name="Овал 30"/>
          <p:cNvSpPr/>
          <p:nvPr/>
        </p:nvSpPr>
        <p:spPr bwMode="auto">
          <a:xfrm>
            <a:off x="1938661" y="1692907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3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2" name="Овал 31"/>
          <p:cNvSpPr/>
          <p:nvPr/>
        </p:nvSpPr>
        <p:spPr bwMode="auto">
          <a:xfrm>
            <a:off x="1938661" y="2332402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dirty="0"/>
              <a:t>4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Овал 32"/>
          <p:cNvSpPr/>
          <p:nvPr/>
        </p:nvSpPr>
        <p:spPr bwMode="auto">
          <a:xfrm>
            <a:off x="1936404" y="2962264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5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Овал 44"/>
          <p:cNvSpPr/>
          <p:nvPr/>
        </p:nvSpPr>
        <p:spPr bwMode="auto">
          <a:xfrm>
            <a:off x="1934239" y="3626276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6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Овал 45"/>
          <p:cNvSpPr/>
          <p:nvPr/>
        </p:nvSpPr>
        <p:spPr bwMode="auto">
          <a:xfrm>
            <a:off x="1950790" y="4185548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7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7" name="Овал 46"/>
          <p:cNvSpPr/>
          <p:nvPr/>
        </p:nvSpPr>
        <p:spPr bwMode="auto">
          <a:xfrm>
            <a:off x="1931679" y="4907288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8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8" name="Овал 47"/>
          <p:cNvSpPr/>
          <p:nvPr/>
        </p:nvSpPr>
        <p:spPr bwMode="auto">
          <a:xfrm>
            <a:off x="1919550" y="5687831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9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9" name="Овал 48"/>
          <p:cNvSpPr/>
          <p:nvPr/>
        </p:nvSpPr>
        <p:spPr bwMode="auto">
          <a:xfrm>
            <a:off x="1919550" y="6345324"/>
            <a:ext cx="504056" cy="468052"/>
          </a:xfrm>
          <a:prstGeom prst="ellipse">
            <a:avLst/>
          </a:prstGeom>
          <a:gradFill rotWithShape="1">
            <a:gsLst>
              <a:gs pos="0">
                <a:schemeClr val="bg2">
                  <a:gamma/>
                  <a:tint val="26667"/>
                  <a:invGamma/>
                </a:schemeClr>
              </a:gs>
              <a:gs pos="100000">
                <a:schemeClr val="bg2">
                  <a:alpha val="14999"/>
                </a:schemeClr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10</a:t>
            </a:r>
            <a:endParaRPr kumimoji="0" lang="ru-RU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263336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cap="all" dirty="0">
                <a:solidFill>
                  <a:schemeClr val="tx2">
                    <a:lumMod val="50000"/>
                  </a:schemeClr>
                </a:solidFill>
              </a:rPr>
              <a:t>Статистика «ОПОРЫ </a:t>
            </a:r>
            <a:r>
              <a:rPr lang="ru-RU" sz="3200" b="1" cap="all" dirty="0" smtClean="0">
                <a:solidFill>
                  <a:schemeClr val="tx2">
                    <a:lumMod val="50000"/>
                  </a:schemeClr>
                </a:solidFill>
              </a:rPr>
              <a:t>РОССИИ</a:t>
            </a:r>
            <a:endParaRPr lang="ru-RU" sz="3200" dirty="0">
              <a:solidFill>
                <a:schemeClr val="tx2">
                  <a:lumMod val="50000"/>
                </a:schemeClr>
              </a:solidFill>
            </a:endParaRPr>
          </a:p>
        </p:txBody>
      </p:sp>
      <p:pic>
        <p:nvPicPr>
          <p:cNvPr id="3074" name="Picture 2" descr="C:\Users\pkarpova\Documents\Карпова\БУКЛЕТ ОПОРЫ\Дизайнерские элементы из буклета\png-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916832"/>
            <a:ext cx="1339850" cy="1339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C:\Users\pkarpova\Documents\Карпова\БУКЛЕТ ОПОРЫ\Дизайнерские элементы из буклета\png-04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88024" y="3919140"/>
            <a:ext cx="1339850" cy="134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9" name="Picture 7" descr="C:\Users\pkarpova\Documents\Карпова\БУКЛЕТ ОПОРЫ\Дизайнерские элементы из буклета\png-02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35" y="3849364"/>
            <a:ext cx="1339850" cy="1362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0" name="Picture 8" descr="C:\Users\pkarpova\Documents\Карпова\БУКЛЕТ ОПОРЫ\Дизайнерские элементы из буклета\png-0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4203" y="1926754"/>
            <a:ext cx="1339850" cy="13414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81" name="Picture 9" descr="C:\Users\pkarpova\Documents\Карпова\БУКЛЕТ ОПОРЫ\Дизайнерские элементы из буклета\png-05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2197" y="5299992"/>
            <a:ext cx="1346200" cy="1335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Прямоугольник 4"/>
          <p:cNvSpPr/>
          <p:nvPr/>
        </p:nvSpPr>
        <p:spPr>
          <a:xfrm>
            <a:off x="2200419" y="1052736"/>
            <a:ext cx="4682692" cy="9233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US" sz="5400" b="1" i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1</a:t>
            </a:r>
            <a:r>
              <a:rPr lang="ru-RU" sz="5400" b="1" i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7</a:t>
            </a:r>
            <a:r>
              <a:rPr lang="en-US" sz="2800" b="1" i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2800" b="1" i="1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лет</a:t>
            </a:r>
            <a:r>
              <a:rPr lang="en-US" sz="2800" b="1" i="1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ru-RU" sz="2800" b="1" i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активной</a:t>
            </a:r>
            <a:r>
              <a:rPr lang="en-US" sz="2800" b="1" i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2800" b="1" i="1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работы</a:t>
            </a:r>
            <a:endParaRPr lang="ru-RU" sz="2800" b="1" i="1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657373" y="2125092"/>
            <a:ext cx="223224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450 </a:t>
            </a:r>
            <a:r>
              <a:rPr lang="en-US" sz="2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тыс</a:t>
            </a:r>
            <a:r>
              <a:rPr lang="en-US" sz="2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.+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предпринимателей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со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всей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России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1692397" y="4221088"/>
            <a:ext cx="2286000" cy="1077218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100+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отраслевых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союзов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,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ассоциаций</a:t>
            </a:r>
            <a:r>
              <a:rPr lang="en-US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,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гильдий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6433046" y="2192376"/>
            <a:ext cx="2099394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85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региональных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отделений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228184" y="4405192"/>
            <a:ext cx="289598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2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400+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местных</a:t>
            </a:r>
            <a:r>
              <a:rPr lang="en-US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  <a:r>
              <a:rPr lang="en-US" sz="1800" dirty="0" err="1">
                <a:solidFill>
                  <a:srgbClr val="1F497D">
                    <a:lumMod val="50000"/>
                  </a:srgbClr>
                </a:solidFill>
                <a:latin typeface="Calibri"/>
              </a:rPr>
              <a:t>отделений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4217144" y="5661248"/>
            <a:ext cx="268039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31 зарубежный </a:t>
            </a:r>
            <a:r>
              <a:rPr lang="en-US" dirty="0" err="1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представитель</a:t>
            </a:r>
            <a:endParaRPr lang="ru-RU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57578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</a:rPr>
              <a:t>НП «ОПОРА»</a:t>
            </a:r>
            <a:endParaRPr lang="ru-RU" sz="3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1520" y="1412776"/>
            <a:ext cx="4572000" cy="923330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Некоммерческое партнерство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«Объединение предпринимательских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организаций ОПОРА»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4572000" y="5327839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Создана 18 сентября 2001 года. </a:t>
            </a:r>
            <a:r>
              <a:rPr lang="ru-RU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Члены </a:t>
            </a: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НП «ОПОРА» </a:t>
            </a:r>
            <a:r>
              <a:rPr lang="ru-RU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- неполитические </a:t>
            </a: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общественные и некоммерческие организации,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объединяющие </a:t>
            </a:r>
            <a:r>
              <a:rPr lang="ru-RU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предпринимателей.</a:t>
            </a:r>
            <a:endParaRPr lang="ru-RU" sz="18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987824" y="2437240"/>
            <a:ext cx="4572000" cy="1754326"/>
          </a:xfrm>
          <a:prstGeom prst="rect">
            <a:avLst/>
          </a:prstGeom>
        </p:spPr>
        <p:txBody>
          <a:bodyPr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7200" b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100+</a:t>
            </a:r>
            <a:r>
              <a:rPr lang="ru-RU" sz="1800" b="1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 </a:t>
            </a: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общероссийских </a:t>
            </a:r>
            <a:r>
              <a:rPr lang="ru-RU" sz="18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и региональных отраслевых союзов и ассоциаций</a:t>
            </a:r>
          </a:p>
        </p:txBody>
      </p:sp>
      <p:pic>
        <p:nvPicPr>
          <p:cNvPr id="1026" name="Picture 2" descr="C:\Users\pkarpova\Documents\Карпова\БУКЛЕТ ОПОРЫ\Дизайнерские элементы из буклета\Spisok np2-01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528" y="5589240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3" descr="C:\Users\pkarpova\Documents\Карпова\БУКЛЕТ ОПОРЫ\Дизайнерские элементы из буклета\Spisok np2-16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3467666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4" descr="C:\Users\pkarpova\Documents\Карпова\БУКЛЕТ ОПОРЫ\Дизайнерские элементы из буклета\Spisok np2-23.p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0152" y="3034278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5" descr="C:\Users\pkarpova\Documents\Карпова\БУКЛЕТ ОПОРЫ\Дизайнерские элементы из буклета\Spisok np2-03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5696" y="5172223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6" descr="C:\Users\pkarpova\Documents\Карпова\БУКЛЕТ ОПОРЫ\Дизайнерские элементы из буклета\Spisok np2-04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4453" y="4318417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3" name="Picture 9" descr="C:\Users\pkarpova\Documents\Карпова\БУКЛЕТ ОПОРЫ\Дизайнерские элементы из буклета\Spisok np2-12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8" y="194395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C:\Users\pkarpova\Documents\Карпова\БУКЛЕТ ОПОРЫ\Дизайнерские элементы из буклета\Spisok np2-20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01794" y="1700808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5" name="Picture 11" descr="C:\Users\pkarpova\Documents\Карпова\БУКЛЕТ ОПОРЫ\Дизайнерские элементы из буклета\Spisok np2-49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84367" y="2891404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6" name="Picture 12" descr="C:\Users\pkarpova\Documents\Карпова\БУКЛЕТ ОПОРЫ\Дизайнерские элементы из буклета\Spisok np2-45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24612" y="627782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7" name="Picture 13" descr="C:\Users\pkarpova\Documents\Карпова\БУКЛЕТ ОПОРЫ\Дизайнерские элементы из буклета\Spisok np2-58.pn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8184" y="2567583"/>
            <a:ext cx="866775" cy="866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282295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</a:rPr>
              <a:t>МЕЖДУНАРОДНОЕ СОТРУДНИЧЕСТВО</a:t>
            </a:r>
            <a:endParaRPr lang="ru-RU" sz="3200" b="1" dirty="0">
              <a:solidFill>
                <a:schemeClr val="tx2">
                  <a:lumMod val="50000"/>
                </a:schemeClr>
              </a:solidFill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3654788" y="5515805"/>
            <a:ext cx="2160966" cy="1220787"/>
            <a:chOff x="6228184" y="1907371"/>
            <a:chExt cx="2160966" cy="1220787"/>
          </a:xfrm>
        </p:grpSpPr>
        <p:pic>
          <p:nvPicPr>
            <p:cNvPr id="4126" name="Picture 30" descr="C:\Users\pkarpova\Documents\Карпова\БУКЛЕТ ОПОРЫ\Дизайнерские элементы из буклета\city world-09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88887" y="1907371"/>
              <a:ext cx="2100263" cy="1220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21" name="Picture 25" descr="C:\Users\pkarpova\Documents\Карпова\БУКЛЕТ ОПОРЫ\Дизайнерские элементы из буклета\city world-18.png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696846" y="2028859"/>
              <a:ext cx="596131" cy="5961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22" name="Picture 26" descr="C:\Users\pkarpova\Documents\Карпова\БУКЛЕТ ОПОРЫ\Дизайнерские элементы из буклета\city world-19.png"/>
            <p:cNvPicPr>
              <a:picLocks noChangeAspect="1" noChangeArrowheads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28184" y="2179702"/>
              <a:ext cx="571650" cy="57165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" name="Группа 6"/>
            <p:cNvGrpSpPr/>
            <p:nvPr/>
          </p:nvGrpSpPr>
          <p:grpSpPr>
            <a:xfrm>
              <a:off x="6948607" y="2028859"/>
              <a:ext cx="561475" cy="541698"/>
              <a:chOff x="3799888" y="2388671"/>
              <a:chExt cx="624129" cy="625126"/>
            </a:xfrm>
          </p:grpSpPr>
          <p:sp>
            <p:nvSpPr>
              <p:cNvPr id="6" name="Овал 5"/>
              <p:cNvSpPr/>
              <p:nvPr/>
            </p:nvSpPr>
            <p:spPr>
              <a:xfrm>
                <a:off x="3799888" y="2388671"/>
                <a:ext cx="624129" cy="625126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 sz="1800">
                  <a:solidFill>
                    <a:srgbClr val="1F497D">
                      <a:lumMod val="50000"/>
                    </a:srgbClr>
                  </a:solidFill>
                </a:endParaRPr>
              </a:p>
            </p:txBody>
          </p:sp>
          <p:pic>
            <p:nvPicPr>
              <p:cNvPr id="4123" name="Picture 27" descr="C:\Users\pkarpova\Documents\Карпова\БУКЛЕТ ОПОРЫ\Дизайнерские элементы из буклета\city world-20.png"/>
              <p:cNvPicPr>
                <a:picLocks noChangeAspect="1" noChangeArrowheads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06793" y="2496074"/>
                <a:ext cx="410320" cy="41032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</p:grpSp>
      <p:grpSp>
        <p:nvGrpSpPr>
          <p:cNvPr id="3" name="Группа 2"/>
          <p:cNvGrpSpPr/>
          <p:nvPr/>
        </p:nvGrpSpPr>
        <p:grpSpPr>
          <a:xfrm>
            <a:off x="206205" y="5009872"/>
            <a:ext cx="2367625" cy="1361476"/>
            <a:chOff x="597990" y="2339942"/>
            <a:chExt cx="2367625" cy="1361476"/>
          </a:xfrm>
        </p:grpSpPr>
        <p:pic>
          <p:nvPicPr>
            <p:cNvPr id="4125" name="Picture 29" descr="C:\Users\pkarpova\Documents\Карпова\БУКЛЕТ ОПОРЫ\Дизайнерские элементы из буклета\city world-02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9814" y="2479043"/>
              <a:ext cx="2100263" cy="122237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6" name="Picture 20" descr="C:\Users\pkarpova\Documents\Карпова\БУКЛЕТ ОПОРЫ\Дизайнерские элементы из буклета\city world-13.pn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7990" y="2365046"/>
              <a:ext cx="613211" cy="61321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9" name="Группа 8"/>
            <p:cNvGrpSpPr/>
            <p:nvPr/>
          </p:nvGrpSpPr>
          <p:grpSpPr>
            <a:xfrm>
              <a:off x="2347538" y="2339942"/>
              <a:ext cx="618077" cy="601302"/>
              <a:chOff x="3851920" y="3589403"/>
              <a:chExt cx="648073" cy="637147"/>
            </a:xfrm>
          </p:grpSpPr>
          <p:sp>
            <p:nvSpPr>
              <p:cNvPr id="8" name="Овал 7"/>
              <p:cNvSpPr/>
              <p:nvPr/>
            </p:nvSpPr>
            <p:spPr>
              <a:xfrm>
                <a:off x="3851920" y="3589403"/>
                <a:ext cx="648073" cy="637147"/>
              </a:xfrm>
              <a:prstGeom prst="ellipse">
                <a:avLst/>
              </a:prstGeom>
              <a:solidFill>
                <a:schemeClr val="bg1"/>
              </a:solidFill>
              <a:ln w="3175">
                <a:solidFill>
                  <a:schemeClr val="tx2">
                    <a:lumMod val="50000"/>
                  </a:schemeClr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fontAlgn="auto">
                  <a:spcBef>
                    <a:spcPts val="0"/>
                  </a:spcBef>
                  <a:spcAft>
                    <a:spcPts val="0"/>
                  </a:spcAft>
                </a:pPr>
                <a:endParaRPr lang="ru-RU" sz="1800">
                  <a:solidFill>
                    <a:srgbClr val="1F497D">
                      <a:lumMod val="50000"/>
                    </a:srgbClr>
                  </a:solidFill>
                </a:endParaRPr>
              </a:p>
            </p:txBody>
          </p:sp>
          <p:pic>
            <p:nvPicPr>
              <p:cNvPr id="4118" name="Picture 22" descr="C:\Users\pkarpova\Documents\Карпова\БУКЛЕТ ОПОРЫ\Дизайнерские элементы из буклета\city world-15.png"/>
              <p:cNvPicPr>
                <a:picLocks noChangeAspect="1" noChangeArrowheads="1"/>
              </p:cNvPicPr>
              <p:nvPr/>
            </p:nvPicPr>
            <p:blipFill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959932" y="3691952"/>
                <a:ext cx="432047" cy="432047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4117" name="Picture 21" descr="C:\Users\pkarpova\Documents\Карпова\БУКЛЕТ ОПОРЫ\Дизайнерские элементы из буклета\city world-14.png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75656" y="2532027"/>
              <a:ext cx="596131" cy="59613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4" name="Группа 3"/>
          <p:cNvGrpSpPr/>
          <p:nvPr/>
        </p:nvGrpSpPr>
        <p:grpSpPr>
          <a:xfrm>
            <a:off x="6285970" y="3508763"/>
            <a:ext cx="2104165" cy="1666805"/>
            <a:chOff x="3874286" y="3452745"/>
            <a:chExt cx="2104165" cy="1666805"/>
          </a:xfrm>
        </p:grpSpPr>
        <p:pic>
          <p:nvPicPr>
            <p:cNvPr id="4127" name="Picture 31" descr="C:\Users\pkarpova\Documents\Карпова\БУКЛЕТ ОПОРЫ\Дизайнерские элементы из буклета\city world-06.png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874286" y="3898763"/>
              <a:ext cx="2100263" cy="122078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19" name="Picture 23" descr="C:\Users\pkarpova\Documents\Карпова\БУКЛЕТ ОПОРЫ\Дизайнерские элементы из буклета\city world-16.png"/>
            <p:cNvPicPr>
              <a:picLocks noChangeAspect="1" noChangeArrowheads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402387" y="3452745"/>
              <a:ext cx="576064" cy="5760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120" name="Picture 24" descr="C:\Users\pkarpova\Documents\Карпова\БУКЛЕТ ОПОРЫ\Дизайнерские элементы из буклета\city world-17.png"/>
            <p:cNvPicPr>
              <a:picLocks noChangeAspect="1" noChangeArrowheads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15409" y="3452745"/>
              <a:ext cx="568669" cy="5686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" name="Прямоугольник 9"/>
          <p:cNvSpPr/>
          <p:nvPr/>
        </p:nvSpPr>
        <p:spPr>
          <a:xfrm>
            <a:off x="412253" y="1165740"/>
            <a:ext cx="631998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Развитие международного сотрудничества является одним из приоритетных направлений деятельности «ОПОРЫ РОССИИ».</a:t>
            </a:r>
            <a:endParaRPr lang="ru-RU" sz="16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0" name="Овал 19"/>
          <p:cNvSpPr/>
          <p:nvPr/>
        </p:nvSpPr>
        <p:spPr>
          <a:xfrm>
            <a:off x="3995936" y="2061752"/>
            <a:ext cx="818658" cy="818658"/>
          </a:xfrm>
          <a:prstGeom prst="ellipse">
            <a:avLst/>
          </a:prstGeom>
          <a:blipFill rotWithShape="1">
            <a:blip r:embed="rId13">
              <a:duotone>
                <a:schemeClr val="accent3">
                  <a:shade val="45000"/>
                  <a:satMod val="135000"/>
                </a:schemeClr>
                <a:prstClr val="white"/>
              </a:duotone>
            </a:blip>
            <a:srcRect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-3694485"/>
              <a:satOff val="-6499"/>
              <a:lumOff val="-836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1" name="Прямоугольник 20"/>
          <p:cNvSpPr/>
          <p:nvPr/>
        </p:nvSpPr>
        <p:spPr>
          <a:xfrm>
            <a:off x="1219268" y="2122697"/>
            <a:ext cx="18129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Широкая сеть представительств и партнеров</a:t>
            </a:r>
            <a:endParaRPr lang="ru-RU" sz="16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5" name="Овал 24"/>
          <p:cNvSpPr/>
          <p:nvPr/>
        </p:nvSpPr>
        <p:spPr>
          <a:xfrm>
            <a:off x="1716398" y="3373000"/>
            <a:ext cx="818658" cy="818658"/>
          </a:xfrm>
          <a:prstGeom prst="ellipse">
            <a:avLst/>
          </a:prstGeom>
          <a:blipFill rotWithShape="1">
            <a:blip r:embed="rId14"/>
            <a:srcRect/>
            <a:stretch>
              <a:fillRect l="-10000" r="-10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-7388969"/>
              <a:satOff val="-12997"/>
              <a:lumOff val="-1672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6" name="Прямоугольник 25"/>
          <p:cNvSpPr/>
          <p:nvPr/>
        </p:nvSpPr>
        <p:spPr>
          <a:xfrm>
            <a:off x="2729437" y="3212976"/>
            <a:ext cx="181291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B2B matching </a:t>
            </a:r>
            <a:r>
              <a:rPr lang="ru-RU" sz="16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через организацию мероприятий и бизнес-миссий</a:t>
            </a:r>
            <a:endParaRPr lang="ru-RU" sz="16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sp>
        <p:nvSpPr>
          <p:cNvPr id="27" name="Овал 26"/>
          <p:cNvSpPr/>
          <p:nvPr/>
        </p:nvSpPr>
        <p:spPr>
          <a:xfrm>
            <a:off x="169137" y="1939551"/>
            <a:ext cx="818658" cy="818658"/>
          </a:xfrm>
          <a:prstGeom prst="ellipse">
            <a:avLst/>
          </a:prstGeom>
          <a:blipFill rotWithShape="1">
            <a:blip r:embed="rId15" cstate="print"/>
            <a:srcRect/>
            <a:stretch>
              <a:fillRect t="-3000" b="-3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5">
              <a:tint val="50000"/>
              <a:hueOff val="-5541727"/>
              <a:satOff val="-9748"/>
              <a:lumOff val="-1254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Прямоугольник 30"/>
          <p:cNvSpPr/>
          <p:nvPr/>
        </p:nvSpPr>
        <p:spPr>
          <a:xfrm>
            <a:off x="5036890" y="2061752"/>
            <a:ext cx="244413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Участие </a:t>
            </a:r>
            <a:r>
              <a:rPr lang="ru-RU" sz="1600" dirty="0">
                <a:solidFill>
                  <a:srgbClr val="1F497D">
                    <a:lumMod val="50000"/>
                  </a:srgbClr>
                </a:solidFill>
                <a:latin typeface="Calibri"/>
              </a:rPr>
              <a:t>в Рабочих группах и Межправительственных </a:t>
            </a:r>
            <a:r>
              <a:rPr lang="ru-RU" sz="1600" dirty="0" smtClean="0">
                <a:solidFill>
                  <a:srgbClr val="1F497D">
                    <a:lumMod val="50000"/>
                  </a:srgbClr>
                </a:solidFill>
                <a:latin typeface="Calibri"/>
              </a:rPr>
              <a:t>комиссиях с разными странами</a:t>
            </a:r>
            <a:endParaRPr lang="ru-RU" sz="16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  <a:p>
            <a:pPr algn="l" fontAlgn="auto">
              <a:spcBef>
                <a:spcPts val="0"/>
              </a:spcBef>
              <a:spcAft>
                <a:spcPts val="0"/>
              </a:spcAft>
            </a:pPr>
            <a:endParaRPr lang="ru-RU" sz="1600" dirty="0">
              <a:solidFill>
                <a:srgbClr val="1F497D">
                  <a:lumMod val="50000"/>
                </a:srgbClr>
              </a:solidFill>
              <a:latin typeface="Calibri"/>
            </a:endParaRPr>
          </a:p>
        </p:txBody>
      </p:sp>
      <p:pic>
        <p:nvPicPr>
          <p:cNvPr id="30" name="Picture 33" descr="C:\Users\gorina\AppData\Local\Temp\united-kingdom.pn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40147" y="3944801"/>
            <a:ext cx="493713" cy="49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50057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1309688"/>
            <a:ext cx="9144000" cy="4238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" name="Заголовок 1"/>
          <p:cNvSpPr>
            <a:spLocks noGrp="1"/>
          </p:cNvSpPr>
          <p:nvPr>
            <p:ph type="title"/>
          </p:nvPr>
        </p:nvSpPr>
        <p:spPr>
          <a:xfrm>
            <a:off x="457201" y="151111"/>
            <a:ext cx="8229600" cy="1143000"/>
          </a:xfrm>
        </p:spPr>
        <p:txBody>
          <a:bodyPr>
            <a:normAutofit/>
          </a:bodyPr>
          <a:lstStyle/>
          <a:p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</a:rPr>
              <a:t>Структура «ОПОРЫ РОССИИ»</a:t>
            </a:r>
            <a:endParaRPr lang="ru-RU" sz="32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7719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Скругленная прямоугольная выноска 31"/>
          <p:cNvSpPr/>
          <p:nvPr/>
        </p:nvSpPr>
        <p:spPr>
          <a:xfrm>
            <a:off x="2089146" y="562865"/>
            <a:ext cx="6577176" cy="1383941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33" name="TextBox 14"/>
          <p:cNvSpPr txBox="1">
            <a:spLocks noChangeArrowheads="1"/>
          </p:cNvSpPr>
          <p:nvPr/>
        </p:nvSpPr>
        <p:spPr bwMode="auto">
          <a:xfrm>
            <a:off x="2113594" y="561812"/>
            <a:ext cx="6408712" cy="138499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Борисов Сергей </a:t>
            </a:r>
            <a:r>
              <a:rPr lang="ru-RU" sz="1200" b="1" dirty="0" err="1" smtClean="0">
                <a:solidFill>
                  <a:prstClr val="black"/>
                </a:solidFill>
                <a:latin typeface="Georgia"/>
              </a:rPr>
              <a:t>Ренатович</a:t>
            </a:r>
            <a:endParaRPr lang="ru-RU" sz="1200" b="1" dirty="0" smtClean="0">
              <a:solidFill>
                <a:prstClr val="black"/>
              </a:solidFill>
              <a:latin typeface="Georgia"/>
            </a:endParaRP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Президент «ОПОРЫ РОССИИ», 2002 – 2012 гг.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Председатель Попечительского совета «ОПОРЫ РОССИИ»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Georgia"/>
              </a:rPr>
              <a:t>Заместитель Председателя Общественного совета ФНС </a:t>
            </a: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России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Член Общественного совета при Минюсте России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Член Научно-консультативного совета при Генеральной прокуратуре РФ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Georgia"/>
              </a:rPr>
              <a:t>Член Президентского Совета Российско-Германской Внешнеторговой Палаты</a:t>
            </a:r>
          </a:p>
        </p:txBody>
      </p:sp>
      <p:pic>
        <p:nvPicPr>
          <p:cNvPr id="34" name="Рисунок 33" descr="Борисов Сергей Ренатович"/>
          <p:cNvPicPr/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07504" y="572953"/>
            <a:ext cx="1176131" cy="1461761"/>
          </a:xfrm>
          <a:prstGeom prst="rect">
            <a:avLst/>
          </a:prstGeom>
          <a:noFill/>
        </p:spPr>
      </p:pic>
      <p:sp>
        <p:nvSpPr>
          <p:cNvPr id="35" name="Скругленная прямоугольная выноска 34"/>
          <p:cNvSpPr/>
          <p:nvPr/>
        </p:nvSpPr>
        <p:spPr>
          <a:xfrm>
            <a:off x="2086070" y="2034714"/>
            <a:ext cx="6650170" cy="1753273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36" name="TextBox 14"/>
          <p:cNvSpPr txBox="1">
            <a:spLocks noChangeArrowheads="1"/>
          </p:cNvSpPr>
          <p:nvPr/>
        </p:nvSpPr>
        <p:spPr bwMode="auto">
          <a:xfrm>
            <a:off x="2183512" y="2034714"/>
            <a:ext cx="6408712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Блудян Марина Анатольевна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Первый вице-президент «ОПОРЫ РОССИИ»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Georgia"/>
              </a:rPr>
              <a:t>Сопредседатель внутрипартийной Платформы «Единой России» по поддержке предпринимательской </a:t>
            </a: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инициативы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Georgia"/>
              </a:rPr>
              <a:t>Руководитель экспертной группы по национальному проекту «Малое и среднее предпринимательство и поддержка предпринимательской инициативы</a:t>
            </a: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»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Georgia"/>
              </a:rPr>
              <a:t>Представитель Уполномоченного при Президенте РФ по защите прав предпринимателей по вопросам, связанным с ликвидацией нарушений прав предпринимателей в сфере пожарной безопасности</a:t>
            </a: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2276872"/>
            <a:ext cx="1176131" cy="15121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" name="Скругленная прямоугольная выноска 36"/>
          <p:cNvSpPr/>
          <p:nvPr/>
        </p:nvSpPr>
        <p:spPr>
          <a:xfrm>
            <a:off x="2134616" y="3903621"/>
            <a:ext cx="6577176" cy="1568607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38" name="TextBox 14"/>
          <p:cNvSpPr txBox="1">
            <a:spLocks noChangeArrowheads="1"/>
          </p:cNvSpPr>
          <p:nvPr/>
        </p:nvSpPr>
        <p:spPr bwMode="auto">
          <a:xfrm>
            <a:off x="2159064" y="3902568"/>
            <a:ext cx="6408712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Пищальников Дмитрий Владимирович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Вице-президент «ОПОРЫ РОССИИ»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Член проектного комитета и руководитель </a:t>
            </a:r>
            <a:r>
              <a:rPr lang="ru-RU" sz="1200" dirty="0">
                <a:solidFill>
                  <a:prstClr val="black"/>
                </a:solidFill>
                <a:latin typeface="Georgia"/>
              </a:rPr>
              <a:t>экспертной группы по национальному проекту «Производительность труда и поддержка занятости</a:t>
            </a: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»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prstClr val="black"/>
                </a:solidFill>
                <a:latin typeface="Georgia"/>
              </a:rPr>
              <a:t>Акционер и генеральный директор ПАО «</a:t>
            </a:r>
            <a:r>
              <a:rPr lang="ru-RU" sz="1200" dirty="0" err="1">
                <a:solidFill>
                  <a:prstClr val="black"/>
                </a:solidFill>
                <a:latin typeface="Georgia"/>
              </a:rPr>
              <a:t>Краснокамский</a:t>
            </a:r>
            <a:r>
              <a:rPr lang="ru-RU" sz="1200" dirty="0">
                <a:solidFill>
                  <a:prstClr val="black"/>
                </a:solidFill>
                <a:latin typeface="Georgia"/>
              </a:rPr>
              <a:t> завод металлических сеток</a:t>
            </a: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»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Эксперт в области эффективности  производства и повышения производительности труда</a:t>
            </a:r>
            <a:endParaRPr lang="ru-RU" sz="1200" dirty="0">
              <a:solidFill>
                <a:prstClr val="black"/>
              </a:solidFill>
              <a:latin typeface="Georgia"/>
            </a:endParaRPr>
          </a:p>
        </p:txBody>
      </p:sp>
      <p:sp>
        <p:nvSpPr>
          <p:cNvPr id="12" name="AutoShape 4" descr="Картинки по запросу пищальников дмитрий владимирович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6390" name="Picture 6" descr="Картинки по запросу пищальников дмитрий владимирович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350" y="3890846"/>
            <a:ext cx="1227058" cy="13670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1" name="Скругленная прямоугольная выноска 40"/>
          <p:cNvSpPr/>
          <p:nvPr/>
        </p:nvSpPr>
        <p:spPr>
          <a:xfrm>
            <a:off x="2061622" y="5795645"/>
            <a:ext cx="6577176" cy="784303"/>
          </a:xfrm>
          <a:prstGeom prst="wedgeRoundRectCallout">
            <a:avLst>
              <a:gd name="adj1" fmla="val -62218"/>
              <a:gd name="adj2" fmla="val -26237"/>
              <a:gd name="adj3" fmla="val 16667"/>
            </a:avLst>
          </a:prstGeom>
          <a:solidFill>
            <a:srgbClr val="DBF5F9"/>
          </a:solidFill>
          <a:ln w="19050" cap="flat" cmpd="sng" algn="ctr">
            <a:solidFill>
              <a:srgbClr val="0BD0D9"/>
            </a:solidFill>
            <a:prstDash val="solid"/>
          </a:ln>
          <a:effectLst/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00" kern="0" dirty="0">
              <a:solidFill>
                <a:prstClr val="white"/>
              </a:solidFill>
              <a:latin typeface="Georgia"/>
            </a:endParaRPr>
          </a:p>
        </p:txBody>
      </p:sp>
      <p:sp>
        <p:nvSpPr>
          <p:cNvPr id="42" name="TextBox 14"/>
          <p:cNvSpPr txBox="1">
            <a:spLocks noChangeArrowheads="1"/>
          </p:cNvSpPr>
          <p:nvPr/>
        </p:nvSpPr>
        <p:spPr bwMode="auto">
          <a:xfrm>
            <a:off x="2086070" y="5794592"/>
            <a:ext cx="6408712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indent="97200"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200" b="1" dirty="0" smtClean="0">
                <a:solidFill>
                  <a:prstClr val="black"/>
                </a:solidFill>
                <a:latin typeface="Georgia"/>
              </a:rPr>
              <a:t>Ефременков Иван Николаевич</a:t>
            </a:r>
          </a:p>
          <a:p>
            <a:pPr marL="171450" indent="-171450" algn="just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prstClr val="black"/>
                </a:solidFill>
                <a:latin typeface="Georgia"/>
              </a:rPr>
              <a:t>Заместитель Исполнительного директора «ОПОРЫ РОССИИ» по правовым вопросам и экспертизе</a:t>
            </a:r>
            <a:endParaRPr lang="ru-RU" sz="1200" dirty="0">
              <a:solidFill>
                <a:prstClr val="black"/>
              </a:solidFill>
              <a:latin typeface="Georgia"/>
            </a:endParaRPr>
          </a:p>
        </p:txBody>
      </p:sp>
      <p:pic>
        <p:nvPicPr>
          <p:cNvPr id="16394" name="Picture 10" descr="Картинки по запросу ефременков иван опора россии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10" y="5383822"/>
            <a:ext cx="1128668" cy="13968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Заголовок 1"/>
          <p:cNvSpPr>
            <a:spLocks noGrp="1"/>
          </p:cNvSpPr>
          <p:nvPr>
            <p:ph type="title"/>
          </p:nvPr>
        </p:nvSpPr>
        <p:spPr>
          <a:xfrm>
            <a:off x="436722" y="7937"/>
            <a:ext cx="8229600" cy="565016"/>
          </a:xfrm>
        </p:spPr>
        <p:txBody>
          <a:bodyPr>
            <a:normAutofit fontScale="90000"/>
          </a:bodyPr>
          <a:lstStyle/>
          <a:p>
            <a:r>
              <a:rPr lang="ru-RU" sz="3200" b="1" dirty="0" smtClean="0">
                <a:solidFill>
                  <a:schemeClr val="tx2">
                    <a:lumMod val="50000"/>
                  </a:schemeClr>
                </a:solidFill>
              </a:rPr>
              <a:t>УЧАСТНИКИ ДИСКУССИИ</a:t>
            </a:r>
            <a:endParaRPr lang="ru-RU" sz="3200" b="1" dirty="0">
              <a:solidFill>
                <a:schemeClr val="tx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9586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273050"/>
            <a:ext cx="6984776" cy="851694"/>
          </a:xfrm>
        </p:spPr>
        <p:txBody>
          <a:bodyPr/>
          <a:lstStyle/>
          <a:p>
            <a:r>
              <a:rPr lang="ru-RU" altLang="ru-RU" sz="3200" dirty="0">
                <a:solidFill>
                  <a:srgbClr val="7030A0"/>
                </a:solidFill>
                <a:latin typeface="a_MonumentoTitul" panose="02060906030706050204" pitchFamily="18" charset="-52"/>
              </a:rPr>
              <a:t>м</a:t>
            </a:r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алый бизнес: ЧТО ЭТО?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graphicFrame>
        <p:nvGraphicFramePr>
          <p:cNvPr id="27" name="Объект 26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83831722"/>
              </p:ext>
            </p:extLst>
          </p:nvPr>
        </p:nvGraphicFramePr>
        <p:xfrm>
          <a:off x="5557771" y="1159573"/>
          <a:ext cx="3394720" cy="49294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3" name="Picture 4" descr="D:\Net Folder\крестик_финал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3534601" flipV="1">
            <a:off x="2120940" y="4582506"/>
            <a:ext cx="490694" cy="485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TextBox 86"/>
          <p:cNvSpPr txBox="1">
            <a:spLocks noChangeArrowheads="1"/>
          </p:cNvSpPr>
          <p:nvPr/>
        </p:nvSpPr>
        <p:spPr bwMode="auto">
          <a:xfrm>
            <a:off x="2700271" y="4592654"/>
            <a:ext cx="2547938" cy="138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ОГРАНИЧЕНИЯ  ПО СТРУКТУРЕ </a:t>
            </a:r>
            <a:b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УСТАВНОГО КАПИТАЛА</a:t>
            </a:r>
            <a:b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(</a:t>
            </a: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25%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- ДЛЯ ГОСУДАРСТВА </a:t>
            </a:r>
            <a:b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И НКО;  </a:t>
            </a:r>
            <a:r>
              <a:rPr kumimoji="0" lang="ru-RU" alt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49 % </a:t>
            </a: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- ДЛЯ КРУПНЫХ </a:t>
            </a:r>
            <a:b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КОМПАНИЙ  И ИНОСТРАННЫХ </a:t>
            </a:r>
            <a:b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</a:br>
            <a:r>
              <a:rPr kumimoji="0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ЮЛ)</a:t>
            </a:r>
          </a:p>
        </p:txBody>
      </p:sp>
      <p:sp>
        <p:nvSpPr>
          <p:cNvPr id="15" name="Правая круглая скобка 85"/>
          <p:cNvSpPr/>
          <p:nvPr/>
        </p:nvSpPr>
        <p:spPr>
          <a:xfrm rot="16200000" flipH="1">
            <a:off x="3337605" y="2486798"/>
            <a:ext cx="468389" cy="3584577"/>
          </a:xfrm>
          <a:prstGeom prst="rightBracket">
            <a:avLst>
              <a:gd name="adj" fmla="val 0"/>
            </a:avLst>
          </a:prstGeom>
          <a:noFill/>
          <a:ln w="25400" cap="flat" cmpd="sng" algn="ctr">
            <a:solidFill>
              <a:srgbClr val="095F99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ru-RU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graphicFrame>
        <p:nvGraphicFramePr>
          <p:cNvPr id="16" name="Схема 15"/>
          <p:cNvGraphicFramePr/>
          <p:nvPr>
            <p:extLst>
              <p:ext uri="{D42A27DB-BD31-4B8C-83A1-F6EECF244321}">
                <p14:modId xmlns:p14="http://schemas.microsoft.com/office/powerpoint/2010/main" val="1499415978"/>
              </p:ext>
            </p:extLst>
          </p:nvPr>
        </p:nvGraphicFramePr>
        <p:xfrm>
          <a:off x="1779474" y="1175114"/>
          <a:ext cx="3494436" cy="3011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1" r:lo="rId12" r:qs="rId13" r:cs="rId14"/>
          </a:graphicData>
        </a:graphic>
      </p:graphicFrame>
      <p:sp>
        <p:nvSpPr>
          <p:cNvPr id="17" name="TextBox 94"/>
          <p:cNvSpPr txBox="1">
            <a:spLocks noChangeArrowheads="1"/>
          </p:cNvSpPr>
          <p:nvPr/>
        </p:nvSpPr>
        <p:spPr bwMode="auto">
          <a:xfrm>
            <a:off x="1950971" y="3624279"/>
            <a:ext cx="2027238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до 15 человек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не более 120 млн. руб.</a:t>
            </a:r>
          </a:p>
        </p:txBody>
      </p:sp>
      <p:sp>
        <p:nvSpPr>
          <p:cNvPr id="18" name="TextBox 95"/>
          <p:cNvSpPr txBox="1">
            <a:spLocks noChangeArrowheads="1"/>
          </p:cNvSpPr>
          <p:nvPr/>
        </p:nvSpPr>
        <p:spPr bwMode="auto">
          <a:xfrm>
            <a:off x="2654234" y="2979754"/>
            <a:ext cx="2027237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от 16 до 100 человек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не более 800 млн. руб.</a:t>
            </a:r>
          </a:p>
        </p:txBody>
      </p:sp>
      <p:sp>
        <p:nvSpPr>
          <p:cNvPr id="19" name="TextBox 96"/>
          <p:cNvSpPr txBox="1">
            <a:spLocks noChangeArrowheads="1"/>
          </p:cNvSpPr>
          <p:nvPr/>
        </p:nvSpPr>
        <p:spPr bwMode="auto">
          <a:xfrm>
            <a:off x="3597209" y="2306654"/>
            <a:ext cx="1960562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от 101 до 250 человек</a:t>
            </a:r>
          </a:p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kumimoji="1" lang="ru-RU" alt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не более 2 млрд. руб.</a:t>
            </a:r>
          </a:p>
        </p:txBody>
      </p:sp>
      <p:sp>
        <p:nvSpPr>
          <p:cNvPr id="28" name="TextBox 3"/>
          <p:cNvSpPr txBox="1">
            <a:spLocks noChangeArrowheads="1"/>
          </p:cNvSpPr>
          <p:nvPr/>
        </p:nvSpPr>
        <p:spPr bwMode="auto">
          <a:xfrm>
            <a:off x="6645643" y="4744870"/>
            <a:ext cx="707235" cy="4257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300" dirty="0" smtClean="0">
                <a:solidFill>
                  <a:prstClr val="black"/>
                </a:solidFill>
                <a:cs typeface="Tahoma" pitchFamily="34" charset="0"/>
              </a:rPr>
              <a:t>ДОЛЯ В ВВП</a:t>
            </a:r>
          </a:p>
        </p:txBody>
      </p:sp>
      <p:sp>
        <p:nvSpPr>
          <p:cNvPr id="29" name="Прямоугольник 29"/>
          <p:cNvSpPr>
            <a:spLocks noChangeArrowheads="1"/>
          </p:cNvSpPr>
          <p:nvPr/>
        </p:nvSpPr>
        <p:spPr bwMode="auto">
          <a:xfrm>
            <a:off x="7999607" y="4744870"/>
            <a:ext cx="1109716" cy="4129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3" indent="0" algn="l" defTabSz="91440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296BA8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22,3 %</a:t>
            </a:r>
            <a:endParaRPr kumimoji="0" lang="ru-RU" altLang="ru-RU" sz="900" b="1" i="0" u="none" strike="noStrike" kern="0" cap="none" spc="0" normalizeH="0" baseline="0" noProof="0" dirty="0" smtClean="0">
              <a:ln>
                <a:noFill/>
              </a:ln>
              <a:solidFill>
                <a:srgbClr val="296BA8"/>
              </a:solidFill>
              <a:effectLst/>
              <a:uLnTx/>
              <a:uFillTx/>
              <a:latin typeface="Calibri" pitchFamily="34" charset="0"/>
              <a:cs typeface="Arial" pitchFamily="34" charset="0"/>
            </a:endParaRPr>
          </a:p>
        </p:txBody>
      </p:sp>
      <p:graphicFrame>
        <p:nvGraphicFramePr>
          <p:cNvPr id="30" name="Диаграмма 6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83422604"/>
              </p:ext>
            </p:extLst>
          </p:nvPr>
        </p:nvGraphicFramePr>
        <p:xfrm>
          <a:off x="5346852" y="4601821"/>
          <a:ext cx="925835" cy="625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7" name="Лист" r:id="rId17" imgW="1145953" imgH="798510" progId="Excel.Sheet.8">
                  <p:embed/>
                </p:oleObj>
              </mc:Choice>
              <mc:Fallback>
                <p:oleObj name="Лист" r:id="rId17" imgW="1145953" imgH="798510" progId="Excel.Sheet.8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1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46852" y="4601821"/>
                        <a:ext cx="925835" cy="6254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extBox 3"/>
          <p:cNvSpPr txBox="1">
            <a:spLocks noChangeArrowheads="1"/>
          </p:cNvSpPr>
          <p:nvPr/>
        </p:nvSpPr>
        <p:spPr bwMode="auto">
          <a:xfrm>
            <a:off x="6157835" y="5228560"/>
            <a:ext cx="1257300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300" dirty="0" smtClean="0">
                <a:solidFill>
                  <a:prstClr val="black"/>
                </a:solidFill>
                <a:cs typeface="Tahoma" pitchFamily="34" charset="0"/>
              </a:rPr>
              <a:t>РАЗМЕР МСП</a:t>
            </a:r>
          </a:p>
        </p:txBody>
      </p:sp>
      <p:sp>
        <p:nvSpPr>
          <p:cNvPr id="40" name="Прямоугольник 29"/>
          <p:cNvSpPr>
            <a:spLocks noChangeArrowheads="1"/>
          </p:cNvSpPr>
          <p:nvPr/>
        </p:nvSpPr>
        <p:spPr bwMode="auto">
          <a:xfrm>
            <a:off x="7407003" y="5091321"/>
            <a:ext cx="1629494" cy="452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3" indent="0" algn="l" defTabSz="91440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rgbClr val="296BA8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95 % - МИКРОБИЗНЕС</a:t>
            </a:r>
          </a:p>
        </p:txBody>
      </p:sp>
      <p:pic>
        <p:nvPicPr>
          <p:cNvPr id="41" name="Picture 10" descr="монеты сложены на руку ладонью"/>
          <p:cNvPicPr>
            <a:picLocks noChangeArrowheads="1"/>
          </p:cNvPicPr>
          <p:nvPr/>
        </p:nvPicPr>
        <p:blipFill>
          <a:blip r:embed="rId19" cstate="print">
            <a:duotone>
              <a:srgbClr val="5B9BD5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57771" y="5178473"/>
            <a:ext cx="504000" cy="365286"/>
          </a:xfrm>
          <a:prstGeom prst="rect">
            <a:avLst/>
          </a:prstGeom>
          <a:noFill/>
          <a:extLst/>
        </p:spPr>
      </p:pic>
      <p:pic>
        <p:nvPicPr>
          <p:cNvPr id="42" name="Рисунок 89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8866" y="5739829"/>
            <a:ext cx="381809" cy="3818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TextBox 3"/>
          <p:cNvSpPr txBox="1">
            <a:spLocks noChangeArrowheads="1"/>
          </p:cNvSpPr>
          <p:nvPr/>
        </p:nvSpPr>
        <p:spPr bwMode="auto">
          <a:xfrm>
            <a:off x="6133945" y="5711493"/>
            <a:ext cx="1600200" cy="43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200" dirty="0" smtClean="0">
                <a:solidFill>
                  <a:prstClr val="black"/>
                </a:solidFill>
                <a:cs typeface="Tahoma" pitchFamily="34" charset="0"/>
              </a:rPr>
              <a:t>ДОЛЯ В ОБЩЕМ ОБЪЕМЕ ЭКСПОРТА</a:t>
            </a:r>
          </a:p>
        </p:txBody>
      </p:sp>
      <p:sp>
        <p:nvSpPr>
          <p:cNvPr id="44" name="Прямоугольник 29"/>
          <p:cNvSpPr>
            <a:spLocks noChangeArrowheads="1"/>
          </p:cNvSpPr>
          <p:nvPr/>
        </p:nvSpPr>
        <p:spPr bwMode="auto">
          <a:xfrm>
            <a:off x="7999607" y="5679098"/>
            <a:ext cx="809110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3" indent="0" algn="l" defTabSz="91440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srgbClr val="296BA8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8.6 %</a:t>
            </a:r>
            <a:endParaRPr kumimoji="0" lang="ru-RU" altLang="ru-RU" sz="1400" b="1" i="0" u="none" strike="noStrike" kern="0" cap="none" spc="0" normalizeH="0" baseline="0" noProof="0" dirty="0" smtClean="0">
              <a:ln>
                <a:noFill/>
              </a:ln>
              <a:solidFill>
                <a:srgbClr val="296BA8"/>
              </a:solidFill>
              <a:effectLst/>
              <a:uLnTx/>
              <a:uFillTx/>
              <a:latin typeface="Calibri" pitchFamily="34" charset="0"/>
              <a:cs typeface="Arial" pitchFamily="34" charset="0"/>
            </a:endParaRPr>
          </a:p>
        </p:txBody>
      </p:sp>
      <p:pic>
        <p:nvPicPr>
          <p:cNvPr id="10265" name="Picture 25" descr="ÐÐ°ÑÑÐ¸Ð½ÐºÐ¸ Ð¿Ð¾ Ð·Ð°Ð¿ÑÐ¾ÑÑ Ð·Ð°Ð½ÑÑÐ¾ÑÑÑ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4918" y="6143293"/>
            <a:ext cx="749705" cy="562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extBox 3"/>
          <p:cNvSpPr txBox="1">
            <a:spLocks noChangeArrowheads="1"/>
          </p:cNvSpPr>
          <p:nvPr/>
        </p:nvSpPr>
        <p:spPr bwMode="auto">
          <a:xfrm>
            <a:off x="6241618" y="6254390"/>
            <a:ext cx="1600200" cy="2590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>
              <a:lnSpc>
                <a:spcPts val="1300"/>
              </a:lnSpc>
              <a:spcBef>
                <a:spcPct val="0"/>
              </a:spcBef>
              <a:buFontTx/>
              <a:buNone/>
            </a:pPr>
            <a:r>
              <a:rPr kumimoji="0" lang="ru-RU" altLang="ru-RU" sz="1200" dirty="0" smtClean="0">
                <a:solidFill>
                  <a:prstClr val="black"/>
                </a:solidFill>
                <a:cs typeface="Tahoma" pitchFamily="34" charset="0"/>
              </a:rPr>
              <a:t>ЗАНЯТОСТЬ В МСП</a:t>
            </a:r>
          </a:p>
        </p:txBody>
      </p:sp>
      <p:sp>
        <p:nvSpPr>
          <p:cNvPr id="24" name="Прямоугольник 29"/>
          <p:cNvSpPr>
            <a:spLocks noChangeArrowheads="1"/>
          </p:cNvSpPr>
          <p:nvPr/>
        </p:nvSpPr>
        <p:spPr bwMode="auto">
          <a:xfrm>
            <a:off x="8031293" y="6117348"/>
            <a:ext cx="1112707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kumimoji="1" sz="28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4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 sz="2000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kumimoji="1"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marL="0" marR="0" lvl="3" indent="0" algn="l" defTabSz="91440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296BA8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18.</a:t>
            </a:r>
            <a:r>
              <a:rPr kumimoji="0" lang="en-US" alt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296BA8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7</a:t>
            </a:r>
            <a:r>
              <a:rPr kumimoji="0" lang="ru-RU" altLang="ru-RU" sz="1600" b="1" i="0" u="none" strike="noStrike" kern="0" cap="none" spc="0" normalizeH="0" baseline="0" noProof="0" dirty="0" smtClean="0">
                <a:ln>
                  <a:noFill/>
                </a:ln>
                <a:solidFill>
                  <a:srgbClr val="296BA8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млн.</a:t>
            </a:r>
          </a:p>
        </p:txBody>
      </p:sp>
      <p:graphicFrame>
        <p:nvGraphicFramePr>
          <p:cNvPr id="25" name="Диаграмма 24"/>
          <p:cNvGraphicFramePr/>
          <p:nvPr>
            <p:extLst>
              <p:ext uri="{D42A27DB-BD31-4B8C-83A1-F6EECF244321}">
                <p14:modId xmlns:p14="http://schemas.microsoft.com/office/powerpoint/2010/main" val="1543850165"/>
              </p:ext>
            </p:extLst>
          </p:nvPr>
        </p:nvGraphicFramePr>
        <p:xfrm>
          <a:off x="5750695" y="2648289"/>
          <a:ext cx="3204366" cy="19519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31" name="TextBox 30"/>
          <p:cNvSpPr txBox="1"/>
          <p:nvPr/>
        </p:nvSpPr>
        <p:spPr>
          <a:xfrm>
            <a:off x="5868144" y="2322842"/>
            <a:ext cx="278941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b="1" dirty="0" smtClean="0">
                <a:solidFill>
                  <a:schemeClr val="bg2"/>
                </a:solidFill>
              </a:rPr>
              <a:t>Отраслевой разрез МСП в России</a:t>
            </a:r>
            <a:endParaRPr lang="ru-RU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3410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title"/>
          </p:nvPr>
        </p:nvSpPr>
        <p:spPr>
          <a:xfrm>
            <a:off x="1763688" y="273050"/>
            <a:ext cx="6984776" cy="851694"/>
          </a:xfrm>
        </p:spPr>
        <p:txBody>
          <a:bodyPr/>
          <a:lstStyle/>
          <a:p>
            <a:r>
              <a:rPr lang="ru-RU" altLang="ru-RU" sz="3200" dirty="0">
                <a:solidFill>
                  <a:srgbClr val="7030A0"/>
                </a:solidFill>
                <a:latin typeface="a_MonumentoTitul" panose="02060906030706050204" pitchFamily="18" charset="-52"/>
              </a:rPr>
              <a:t>м</a:t>
            </a:r>
            <a:r>
              <a:rPr lang="ru-RU" altLang="ru-RU" sz="3200" dirty="0" smtClean="0">
                <a:solidFill>
                  <a:srgbClr val="7030A0"/>
                </a:solidFill>
                <a:latin typeface="a_MonumentoTitul" panose="02060906030706050204" pitchFamily="18" charset="-52"/>
              </a:rPr>
              <a:t>алый бизнес: преимущества</a:t>
            </a:r>
            <a:endParaRPr lang="en-US" altLang="ru-RU" sz="3200" dirty="0">
              <a:solidFill>
                <a:srgbClr val="7030A0"/>
              </a:solidFill>
              <a:latin typeface="Amelia_DG" pitchFamily="2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35696" y="1196752"/>
            <a:ext cx="69754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800" b="1" dirty="0" smtClean="0">
                <a:solidFill>
                  <a:srgbClr val="FF0000"/>
                </a:solidFill>
                <a:latin typeface="a_MonumentoTitul" panose="02060906030706050204" pitchFamily="18" charset="-52"/>
              </a:rPr>
              <a:t>Статус МСП подтверждает Единый реестр субъектов МСП, ведет ФНС России</a:t>
            </a:r>
          </a:p>
        </p:txBody>
      </p:sp>
      <p:sp>
        <p:nvSpPr>
          <p:cNvPr id="32" name="Oval 16"/>
          <p:cNvSpPr/>
          <p:nvPr/>
        </p:nvSpPr>
        <p:spPr>
          <a:xfrm>
            <a:off x="1852861" y="2149820"/>
            <a:ext cx="574928" cy="601370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C0504D"/>
                </a:solidFill>
                <a:latin typeface="Arial Black" panose="020B0A04020102020204" pitchFamily="34" charset="0"/>
              </a:rPr>
              <a:t>1</a:t>
            </a:r>
          </a:p>
        </p:txBody>
      </p:sp>
      <p:sp>
        <p:nvSpPr>
          <p:cNvPr id="33" name="Oval 24"/>
          <p:cNvSpPr/>
          <p:nvPr/>
        </p:nvSpPr>
        <p:spPr>
          <a:xfrm>
            <a:off x="1852861" y="3001263"/>
            <a:ext cx="574928" cy="601370"/>
          </a:xfrm>
          <a:prstGeom prst="ellipse">
            <a:avLst/>
          </a:prstGeom>
          <a:noFill/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F79646">
                    <a:lumMod val="50000"/>
                  </a:srgbClr>
                </a:solidFill>
                <a:latin typeface="Arial Black" panose="020B0A04020102020204" pitchFamily="34" charset="0"/>
              </a:rPr>
              <a:t>2</a:t>
            </a:r>
          </a:p>
        </p:txBody>
      </p:sp>
      <p:sp>
        <p:nvSpPr>
          <p:cNvPr id="34" name="Oval 25"/>
          <p:cNvSpPr/>
          <p:nvPr/>
        </p:nvSpPr>
        <p:spPr>
          <a:xfrm>
            <a:off x="1853102" y="3865359"/>
            <a:ext cx="574928" cy="601370"/>
          </a:xfrm>
          <a:prstGeom prst="ellipse">
            <a:avLst/>
          </a:prstGeom>
          <a:noFill/>
          <a:ln w="571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en-MY" sz="2800" dirty="0">
                <a:solidFill>
                  <a:srgbClr val="C00000"/>
                </a:solidFill>
                <a:latin typeface="Arial Black" panose="020B0A04020102020204" pitchFamily="34" charset="0"/>
              </a:rPr>
              <a:t>3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2661081" y="2092080"/>
            <a:ext cx="63527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Возможность получения государственной поддержки (льготные кредиты, льготная аренда и т.д.)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2698504" y="3001263"/>
            <a:ext cx="629946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Возможность участия в </a:t>
            </a:r>
            <a:r>
              <a:rPr lang="ru-RU" sz="1800" dirty="0" err="1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спецторгах</a:t>
            </a: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 в рамках госзаказа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2713799" y="3820398"/>
            <a:ext cx="589064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Мораторий на плановые проверки контрольно-надзорных органов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38" name="Oval 16"/>
          <p:cNvSpPr/>
          <p:nvPr/>
        </p:nvSpPr>
        <p:spPr>
          <a:xfrm>
            <a:off x="1842095" y="4737797"/>
            <a:ext cx="574928" cy="601370"/>
          </a:xfrm>
          <a:prstGeom prst="ellipse">
            <a:avLst/>
          </a:prstGeom>
          <a:noFill/>
          <a:ln w="5715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C0504D"/>
                </a:solidFill>
                <a:latin typeface="Arial Black" panose="020B0A04020102020204" pitchFamily="34" charset="0"/>
              </a:rPr>
              <a:t>4</a:t>
            </a:r>
            <a:endParaRPr lang="en-MY" sz="2800" dirty="0">
              <a:solidFill>
                <a:srgbClr val="C0504D"/>
              </a:solidFill>
              <a:latin typeface="Arial Black" panose="020B0A04020102020204" pitchFamily="34" charset="0"/>
            </a:endParaRPr>
          </a:p>
        </p:txBody>
      </p:sp>
      <p:sp>
        <p:nvSpPr>
          <p:cNvPr id="45" name="Oval 24"/>
          <p:cNvSpPr/>
          <p:nvPr/>
        </p:nvSpPr>
        <p:spPr>
          <a:xfrm>
            <a:off x="1842095" y="5589240"/>
            <a:ext cx="574928" cy="601370"/>
          </a:xfrm>
          <a:prstGeom prst="ellipse">
            <a:avLst/>
          </a:prstGeom>
          <a:noFill/>
          <a:ln w="57150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fontAlgn="auto">
              <a:spcBef>
                <a:spcPts val="0"/>
              </a:spcBef>
              <a:spcAft>
                <a:spcPts val="0"/>
              </a:spcAft>
            </a:pPr>
            <a:r>
              <a:rPr lang="ru-RU" sz="2800" dirty="0" smtClean="0">
                <a:solidFill>
                  <a:srgbClr val="F79646">
                    <a:lumMod val="50000"/>
                  </a:srgbClr>
                </a:solidFill>
                <a:latin typeface="Arial Black" panose="020B0A04020102020204" pitchFamily="34" charset="0"/>
              </a:rPr>
              <a:t>5</a:t>
            </a:r>
            <a:endParaRPr lang="en-MY" sz="2800" dirty="0">
              <a:solidFill>
                <a:srgbClr val="F79646">
                  <a:lumMod val="50000"/>
                </a:srgbClr>
              </a:solidFill>
              <a:latin typeface="Arial Black" panose="020B0A04020102020204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2650315" y="4680057"/>
            <a:ext cx="635277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Бесплатные образовательные и обучающие курсы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2687738" y="5589240"/>
            <a:ext cx="629946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 fontAlgn="auto">
              <a:spcBef>
                <a:spcPts val="0"/>
              </a:spcBef>
              <a:spcAft>
                <a:spcPts val="0"/>
              </a:spcAft>
            </a:pPr>
            <a:r>
              <a:rPr lang="ru-RU" sz="1800" dirty="0" smtClean="0">
                <a:solidFill>
                  <a:srgbClr val="1F497D">
                    <a:lumMod val="75000"/>
                  </a:srgbClr>
                </a:solidFill>
                <a:latin typeface="Calibri"/>
              </a:rPr>
              <a:t>Выкуп арендуемого государственного имущества без аукциона </a:t>
            </a:r>
            <a:endParaRPr lang="ru-RU" sz="1800" dirty="0">
              <a:solidFill>
                <a:srgbClr val="1F497D">
                  <a:lumMod val="75000"/>
                </a:srgbClr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467339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01">
  <a:themeElements>
    <a:clrScheme name="">
      <a:dk1>
        <a:srgbClr val="FFFFFF"/>
      </a:dk1>
      <a:lt1>
        <a:srgbClr val="FFFFFF"/>
      </a:lt1>
      <a:dk2>
        <a:srgbClr val="FFFFFF"/>
      </a:dk2>
      <a:lt2>
        <a:srgbClr val="313131"/>
      </a:lt2>
      <a:accent1>
        <a:srgbClr val="5B5B5B"/>
      </a:accent1>
      <a:accent2>
        <a:srgbClr val="868686"/>
      </a:accent2>
      <a:accent3>
        <a:srgbClr val="FFFFFF"/>
      </a:accent3>
      <a:accent4>
        <a:srgbClr val="DADADA"/>
      </a:accent4>
      <a:accent5>
        <a:srgbClr val="B5B5B5"/>
      </a:accent5>
      <a:accent6>
        <a:srgbClr val="797979"/>
      </a:accent6>
      <a:hlink>
        <a:srgbClr val="D668F8"/>
      </a:hlink>
      <a:folHlink>
        <a:srgbClr val="FFFFFF"/>
      </a:folHlink>
    </a:clrScheme>
    <a:fontScheme name="powerpoint-template-24">
      <a:majorFont>
        <a:latin typeface="Microsoft Sans Serif"/>
        <a:ea typeface=""/>
        <a:cs typeface=""/>
      </a:majorFont>
      <a:minorFont>
        <a:latin typeface="Microsoft Sans Serif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gradFill rotWithShape="1">
          <a:gsLst>
            <a:gs pos="0">
              <a:schemeClr val="bg2">
                <a:gamma/>
                <a:tint val="26667"/>
                <a:invGamma/>
              </a:schemeClr>
            </a:gs>
            <a:gs pos="100000">
              <a:schemeClr val="bg2">
                <a:alpha val="14999"/>
              </a:schemeClr>
            </a:gs>
          </a:gsLst>
          <a:lin ang="5400000" scaled="1"/>
        </a:gradFill>
        <a:ln>
          <a:noFill/>
        </a:ln>
        <a:effectLst/>
        <a:extLst>
          <a:ext uri="{91240B29-F687-4F45-9708-019B960494DF}">
            <a14:hiddenLine xmlns:a14="http://schemas.microsoft.com/office/drawing/2010/main" w="9525" cap="flat" cmpd="sng" algn="ctr">
              <a:solidFill>
                <a:schemeClr val="tx1"/>
              </a:solidFill>
              <a:prstDash val="solid"/>
              <a:round/>
              <a:headEnd type="none" w="med" len="med"/>
              <a:tailEnd type="none" w="med" len="med"/>
            </a14:hiddenLine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altLang="ru-RU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powerpoint-template-24 1">
        <a:dk1>
          <a:srgbClr val="4D4D4D"/>
        </a:dk1>
        <a:lt1>
          <a:srgbClr val="FFFFFF"/>
        </a:lt1>
        <a:dk2>
          <a:srgbClr val="4D4D4D"/>
        </a:dk2>
        <a:lt2>
          <a:srgbClr val="CC0000"/>
        </a:lt2>
        <a:accent1>
          <a:srgbClr val="FF9933"/>
        </a:accent1>
        <a:accent2>
          <a:srgbClr val="009900"/>
        </a:accent2>
        <a:accent3>
          <a:srgbClr val="FFFFFF"/>
        </a:accent3>
        <a:accent4>
          <a:srgbClr val="404040"/>
        </a:accent4>
        <a:accent5>
          <a:srgbClr val="FFCAAD"/>
        </a:accent5>
        <a:accent6>
          <a:srgbClr val="008A00"/>
        </a:accent6>
        <a:hlink>
          <a:srgbClr val="3366FF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2">
        <a:dk1>
          <a:srgbClr val="4D4D4D"/>
        </a:dk1>
        <a:lt1>
          <a:srgbClr val="FFFFFF"/>
        </a:lt1>
        <a:dk2>
          <a:srgbClr val="4D4D4D"/>
        </a:dk2>
        <a:lt2>
          <a:srgbClr val="FBB240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3">
        <a:dk1>
          <a:srgbClr val="4D4D4D"/>
        </a:dk1>
        <a:lt1>
          <a:srgbClr val="FFFFFF"/>
        </a:lt1>
        <a:dk2>
          <a:srgbClr val="4D4D4D"/>
        </a:dk2>
        <a:lt2>
          <a:srgbClr val="FE564C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4">
        <a:dk1>
          <a:srgbClr val="4D4D4D"/>
        </a:dk1>
        <a:lt1>
          <a:srgbClr val="FFFFFF"/>
        </a:lt1>
        <a:dk2>
          <a:srgbClr val="4D4D4D"/>
        </a:dk2>
        <a:lt2>
          <a:srgbClr val="BB2A32"/>
        </a:lt2>
        <a:accent1>
          <a:srgbClr val="FFC842"/>
        </a:accent1>
        <a:accent2>
          <a:srgbClr val="FED06E"/>
        </a:accent2>
        <a:accent3>
          <a:srgbClr val="FFFFFF"/>
        </a:accent3>
        <a:accent4>
          <a:srgbClr val="404040"/>
        </a:accent4>
        <a:accent5>
          <a:srgbClr val="FFE0B0"/>
        </a:accent5>
        <a:accent6>
          <a:srgbClr val="E6BC63"/>
        </a:accent6>
        <a:hlink>
          <a:srgbClr val="FDDB9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5">
        <a:dk1>
          <a:srgbClr val="4D4D4D"/>
        </a:dk1>
        <a:lt1>
          <a:srgbClr val="FFFFFF"/>
        </a:lt1>
        <a:dk2>
          <a:srgbClr val="4D4D4D"/>
        </a:dk2>
        <a:lt2>
          <a:srgbClr val="E84A25"/>
        </a:lt2>
        <a:accent1>
          <a:srgbClr val="ED6A24"/>
        </a:accent1>
        <a:accent2>
          <a:srgbClr val="F99E1C"/>
        </a:accent2>
        <a:accent3>
          <a:srgbClr val="FFFFFF"/>
        </a:accent3>
        <a:accent4>
          <a:srgbClr val="404040"/>
        </a:accent4>
        <a:accent5>
          <a:srgbClr val="F4B9AC"/>
        </a:accent5>
        <a:accent6>
          <a:srgbClr val="E28F18"/>
        </a:accent6>
        <a:hlink>
          <a:srgbClr val="F1B545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6">
        <a:dk1>
          <a:srgbClr val="4D4D4D"/>
        </a:dk1>
        <a:lt1>
          <a:srgbClr val="FFFFFF"/>
        </a:lt1>
        <a:dk2>
          <a:srgbClr val="4D4D4D"/>
        </a:dk2>
        <a:lt2>
          <a:srgbClr val="B92D14"/>
        </a:lt2>
        <a:accent1>
          <a:srgbClr val="D34E13"/>
        </a:accent1>
        <a:accent2>
          <a:srgbClr val="DC9009"/>
        </a:accent2>
        <a:accent3>
          <a:srgbClr val="FFFFFF"/>
        </a:accent3>
        <a:accent4>
          <a:srgbClr val="404040"/>
        </a:accent4>
        <a:accent5>
          <a:srgbClr val="E6B2AA"/>
        </a:accent5>
        <a:accent6>
          <a:srgbClr val="C78207"/>
        </a:accent6>
        <a:hlink>
          <a:srgbClr val="EEC63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7">
        <a:dk1>
          <a:srgbClr val="4D4D4D"/>
        </a:dk1>
        <a:lt1>
          <a:srgbClr val="FFFFFF"/>
        </a:lt1>
        <a:dk2>
          <a:srgbClr val="4D4D4D"/>
        </a:dk2>
        <a:lt2>
          <a:srgbClr val="AE6310"/>
        </a:lt2>
        <a:accent1>
          <a:srgbClr val="E79613"/>
        </a:accent1>
        <a:accent2>
          <a:srgbClr val="E1720D"/>
        </a:accent2>
        <a:accent3>
          <a:srgbClr val="FFFFFF"/>
        </a:accent3>
        <a:accent4>
          <a:srgbClr val="404040"/>
        </a:accent4>
        <a:accent5>
          <a:srgbClr val="F1C9AA"/>
        </a:accent5>
        <a:accent6>
          <a:srgbClr val="CC670B"/>
        </a:accent6>
        <a:hlink>
          <a:srgbClr val="C6470A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8">
        <a:dk1>
          <a:srgbClr val="4D4D4D"/>
        </a:dk1>
        <a:lt1>
          <a:srgbClr val="FFFFFF"/>
        </a:lt1>
        <a:dk2>
          <a:srgbClr val="4D4D4D"/>
        </a:dk2>
        <a:lt2>
          <a:srgbClr val="AF5612"/>
        </a:lt2>
        <a:accent1>
          <a:srgbClr val="CB882F"/>
        </a:accent1>
        <a:accent2>
          <a:srgbClr val="E7C432"/>
        </a:accent2>
        <a:accent3>
          <a:srgbClr val="FFFFFF"/>
        </a:accent3>
        <a:accent4>
          <a:srgbClr val="404040"/>
        </a:accent4>
        <a:accent5>
          <a:srgbClr val="E2C3AD"/>
        </a:accent5>
        <a:accent6>
          <a:srgbClr val="D1B12C"/>
        </a:accent6>
        <a:hlink>
          <a:srgbClr val="EECA34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9">
        <a:dk1>
          <a:srgbClr val="4D4D4D"/>
        </a:dk1>
        <a:lt1>
          <a:srgbClr val="FFFFFF"/>
        </a:lt1>
        <a:dk2>
          <a:srgbClr val="4D4D4D"/>
        </a:dk2>
        <a:lt2>
          <a:srgbClr val="9A5E40"/>
        </a:lt2>
        <a:accent1>
          <a:srgbClr val="AE7750"/>
        </a:accent1>
        <a:accent2>
          <a:srgbClr val="C08D60"/>
        </a:accent2>
        <a:accent3>
          <a:srgbClr val="FFFFFF"/>
        </a:accent3>
        <a:accent4>
          <a:srgbClr val="404040"/>
        </a:accent4>
        <a:accent5>
          <a:srgbClr val="D3BDB3"/>
        </a:accent5>
        <a:accent6>
          <a:srgbClr val="AE7F56"/>
        </a:accent6>
        <a:hlink>
          <a:srgbClr val="CCA47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0">
        <a:dk1>
          <a:srgbClr val="4D4D4D"/>
        </a:dk1>
        <a:lt1>
          <a:srgbClr val="FFFFFF"/>
        </a:lt1>
        <a:dk2>
          <a:srgbClr val="4D4D4D"/>
        </a:dk2>
        <a:lt2>
          <a:srgbClr val="D1BB77"/>
        </a:lt2>
        <a:accent1>
          <a:srgbClr val="DBBA87"/>
        </a:accent1>
        <a:accent2>
          <a:srgbClr val="E0B265"/>
        </a:accent2>
        <a:accent3>
          <a:srgbClr val="FFFFFF"/>
        </a:accent3>
        <a:accent4>
          <a:srgbClr val="404040"/>
        </a:accent4>
        <a:accent5>
          <a:srgbClr val="EAD9C3"/>
        </a:accent5>
        <a:accent6>
          <a:srgbClr val="CBA15B"/>
        </a:accent6>
        <a:hlink>
          <a:srgbClr val="E9C277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1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2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3">
        <a:dk1>
          <a:srgbClr val="4D4D4D"/>
        </a:dk1>
        <a:lt1>
          <a:srgbClr val="FFFFFF"/>
        </a:lt1>
        <a:dk2>
          <a:srgbClr val="4D4D4D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404040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D3D3D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4">
        <a:dk1>
          <a:srgbClr val="FFFFFF"/>
        </a:dk1>
        <a:lt1>
          <a:srgbClr val="FFFFFF"/>
        </a:lt1>
        <a:dk2>
          <a:srgbClr val="FFFFFF"/>
        </a:dk2>
        <a:lt2>
          <a:srgbClr val="45762A"/>
        </a:lt2>
        <a:accent1>
          <a:srgbClr val="42934C"/>
        </a:accent1>
        <a:accent2>
          <a:srgbClr val="34B66A"/>
        </a:accent2>
        <a:accent3>
          <a:srgbClr val="FFFFFF"/>
        </a:accent3>
        <a:accent4>
          <a:srgbClr val="DADADA"/>
        </a:accent4>
        <a:accent5>
          <a:srgbClr val="B0C8B2"/>
        </a:accent5>
        <a:accent6>
          <a:srgbClr val="2EA55F"/>
        </a:accent6>
        <a:hlink>
          <a:srgbClr val="34C8D1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5">
        <a:dk1>
          <a:srgbClr val="FFFFFF"/>
        </a:dk1>
        <a:lt1>
          <a:srgbClr val="FFFFFF"/>
        </a:lt1>
        <a:dk2>
          <a:srgbClr val="FFFFFF"/>
        </a:dk2>
        <a:lt2>
          <a:srgbClr val="55A6FE"/>
        </a:lt2>
        <a:accent1>
          <a:srgbClr val="71BBFF"/>
        </a:accent1>
        <a:accent2>
          <a:srgbClr val="74CCFF"/>
        </a:accent2>
        <a:accent3>
          <a:srgbClr val="FFFFFF"/>
        </a:accent3>
        <a:accent4>
          <a:srgbClr val="DADADA"/>
        </a:accent4>
        <a:accent5>
          <a:srgbClr val="BBDAFF"/>
        </a:accent5>
        <a:accent6>
          <a:srgbClr val="68B9E7"/>
        </a:accent6>
        <a:hlink>
          <a:srgbClr val="94D8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owerpoint-template-24 16">
        <a:dk1>
          <a:srgbClr val="FFFFFF"/>
        </a:dk1>
        <a:lt1>
          <a:srgbClr val="FFFFFF"/>
        </a:lt1>
        <a:dk2>
          <a:srgbClr val="FFFFFF"/>
        </a:dk2>
        <a:lt2>
          <a:srgbClr val="4BA1FF"/>
        </a:lt2>
        <a:accent1>
          <a:srgbClr val="5DB2FF"/>
        </a:accent1>
        <a:accent2>
          <a:srgbClr val="65C8FF"/>
        </a:accent2>
        <a:accent3>
          <a:srgbClr val="FFFFFF"/>
        </a:accent3>
        <a:accent4>
          <a:srgbClr val="DADADA"/>
        </a:accent4>
        <a:accent5>
          <a:srgbClr val="B6D5FF"/>
        </a:accent5>
        <a:accent6>
          <a:srgbClr val="5BB5E7"/>
        </a:accent6>
        <a:hlink>
          <a:srgbClr val="87E1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lank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Blank.potx" id="{1C47945D-F44A-45CC-A97B-69C7B57ED551}" vid="{54E0A883-0BB3-471D-9518-F28830240CE7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2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3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4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301</Template>
  <TotalTime>3949</TotalTime>
  <Words>1489</Words>
  <Application>Microsoft Office PowerPoint</Application>
  <PresentationFormat>Экран (4:3)</PresentationFormat>
  <Paragraphs>216</Paragraphs>
  <Slides>20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7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20</vt:i4>
      </vt:variant>
    </vt:vector>
  </HeadingPairs>
  <TitlesOfParts>
    <vt:vector size="30" baseType="lpstr">
      <vt:lpstr>301</vt:lpstr>
      <vt:lpstr>blank</vt:lpstr>
      <vt:lpstr>Тема Office</vt:lpstr>
      <vt:lpstr>1_Тема Office</vt:lpstr>
      <vt:lpstr>2_Тема Office</vt:lpstr>
      <vt:lpstr>3_Тема Office</vt:lpstr>
      <vt:lpstr>4_Тема Office</vt:lpstr>
      <vt:lpstr>think-cell Slide</vt:lpstr>
      <vt:lpstr>Лист</vt:lpstr>
      <vt:lpstr>Диаграмма</vt:lpstr>
      <vt:lpstr>Презентация PowerPoint</vt:lpstr>
      <vt:lpstr>БИЗНЕС-АССОЦИАЦИИ – ДРАЙВЕР РАЗВИТИЯ МСП</vt:lpstr>
      <vt:lpstr>Статистика «ОПОРЫ РОССИИ</vt:lpstr>
      <vt:lpstr>НП «ОПОРА»</vt:lpstr>
      <vt:lpstr>МЕЖДУНАРОДНОЕ СОТРУДНИЧЕСТВО</vt:lpstr>
      <vt:lpstr>Структура «ОПОРЫ РОССИИ»</vt:lpstr>
      <vt:lpstr>УЧАСТНИКИ ДИСКУССИИ</vt:lpstr>
      <vt:lpstr>малый бизнес: ЧТО ЭТО?</vt:lpstr>
      <vt:lpstr>малый бизнес: преимущества</vt:lpstr>
      <vt:lpstr>мсп в россии</vt:lpstr>
      <vt:lpstr>малый бизнес: Системы налогообложения</vt:lpstr>
      <vt:lpstr>Причины непопулярности патентной системы налогообложения</vt:lpstr>
      <vt:lpstr>малый бизнес: национальный проект (утвержден Президиумом Совета при Президенте РФ по стратегическому развитию и приоритетным проектам)</vt:lpstr>
      <vt:lpstr>малый бизнес: кто «ЗА»</vt:lpstr>
      <vt:lpstr>малый бизнес: кто «ПРОТИВ»</vt:lpstr>
      <vt:lpstr>малый бизнес и конкуренция</vt:lpstr>
      <vt:lpstr>Национальный проект «Повышение производительности труда и поддержка занятости»</vt:lpstr>
      <vt:lpstr>Презентация PowerPoint</vt:lpstr>
      <vt:lpstr>Презентация PowerPoint</vt:lpstr>
      <vt:lpstr>малый бизнес: 10 ШАГОВ «ЗА»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me of presentation</dc:title>
  <dc:creator>Нугуманова Светлана</dc:creator>
  <cp:lastModifiedBy>Пользователь Windows</cp:lastModifiedBy>
  <cp:revision>224</cp:revision>
  <cp:lastPrinted>2019-10-30T12:39:15Z</cp:lastPrinted>
  <dcterms:created xsi:type="dcterms:W3CDTF">2016-08-18T12:39:34Z</dcterms:created>
  <dcterms:modified xsi:type="dcterms:W3CDTF">2019-10-30T17:23:10Z</dcterms:modified>
</cp:coreProperties>
</file>